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9" r:id="rId4"/>
    <p:sldMasterId id="2147483668" r:id="rId5"/>
    <p:sldMasterId id="2147483648" r:id="rId6"/>
  </p:sldMasterIdLst>
  <p:notesMasterIdLst>
    <p:notesMasterId r:id="rId28"/>
  </p:notesMasterIdLst>
  <p:sldIdLst>
    <p:sldId id="302" r:id="rId7"/>
    <p:sldId id="304" r:id="rId8"/>
    <p:sldId id="303" r:id="rId9"/>
    <p:sldId id="305" r:id="rId10"/>
    <p:sldId id="323" r:id="rId11"/>
    <p:sldId id="324" r:id="rId12"/>
    <p:sldId id="332" r:id="rId13"/>
    <p:sldId id="333" r:id="rId14"/>
    <p:sldId id="334" r:id="rId15"/>
    <p:sldId id="335" r:id="rId16"/>
    <p:sldId id="337" r:id="rId17"/>
    <p:sldId id="321" r:id="rId18"/>
    <p:sldId id="322" r:id="rId19"/>
    <p:sldId id="306" r:id="rId20"/>
    <p:sldId id="320" r:id="rId21"/>
    <p:sldId id="314" r:id="rId22"/>
    <p:sldId id="315" r:id="rId23"/>
    <p:sldId id="316" r:id="rId24"/>
    <p:sldId id="317" r:id="rId25"/>
    <p:sldId id="318" r:id="rId26"/>
    <p:sldId id="319" r:id="rId27"/>
  </p:sldIdLst>
  <p:sldSz cx="12192000" cy="6858000"/>
  <p:notesSz cx="6858000" cy="9144000"/>
  <p:custDataLst>
    <p:tags r:id="rId2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ED524441-67FF-4518-83FB-CD5FAAAE2F50}">
          <p14:sldIdLst>
            <p14:sldId id="302"/>
            <p14:sldId id="304"/>
            <p14:sldId id="303"/>
            <p14:sldId id="305"/>
            <p14:sldId id="323"/>
            <p14:sldId id="324"/>
            <p14:sldId id="332"/>
            <p14:sldId id="333"/>
            <p14:sldId id="334"/>
            <p14:sldId id="335"/>
            <p14:sldId id="337"/>
            <p14:sldId id="321"/>
            <p14:sldId id="322"/>
          </p14:sldIdLst>
        </p14:section>
        <p14:section name="Leere Folien" id="{D3D59C39-C240-43D7-B116-AB0A9AB0E4C7}">
          <p14:sldIdLst>
            <p14:sldId id="306"/>
            <p14:sldId id="320"/>
            <p14:sldId id="314"/>
            <p14:sldId id="315"/>
            <p14:sldId id="316"/>
            <p14:sldId id="317"/>
            <p14:sldId id="318"/>
            <p14:sldId id="319"/>
          </p14:sldIdLst>
        </p14:section>
      </p14:sectionLst>
    </p:ext>
    <p:ext uri="{EFAFB233-063F-42B5-8137-9DF3F51BA10A}">
      <p15:sldGuideLst xmlns:p15="http://schemas.microsoft.com/office/powerpoint/2012/main">
        <p15:guide id="2" pos="3840" userDrawn="1">
          <p15:clr>
            <a:srgbClr val="A4A3A4"/>
          </p15:clr>
        </p15:guide>
        <p15:guide id="3" orient="horz" pos="104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8E8E7"/>
    <a:srgbClr val="F4F4F3"/>
    <a:srgbClr val="29969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191" autoAdjust="0"/>
    <p:restoredTop sz="66744" autoAdjust="0"/>
  </p:normalViewPr>
  <p:slideViewPr>
    <p:cSldViewPr snapToGrid="0" showGuides="1">
      <p:cViewPr varScale="1">
        <p:scale>
          <a:sx n="58" d="100"/>
          <a:sy n="58" d="100"/>
        </p:scale>
        <p:origin x="1958" y="34"/>
      </p:cViewPr>
      <p:guideLst>
        <p:guide pos="3840"/>
        <p:guide orient="horz" pos="1049"/>
      </p:guideLst>
    </p:cSldViewPr>
  </p:slideViewPr>
  <p:notesTextViewPr>
    <p:cViewPr>
      <p:scale>
        <a:sx n="1" d="1"/>
        <a:sy n="1" d="1"/>
      </p:scale>
      <p:origin x="0" y="-888"/>
    </p:cViewPr>
  </p:notesTextViewPr>
  <p:sorterViewPr>
    <p:cViewPr varScale="1">
      <p:scale>
        <a:sx n="1" d="1"/>
        <a:sy n="1" d="1"/>
      </p:scale>
      <p:origin x="0" y="0"/>
    </p:cViewPr>
  </p:sorterViewPr>
  <p:notesViewPr>
    <p:cSldViewPr snapToGrid="0" showGuides="1">
      <p:cViewPr varScale="1">
        <p:scale>
          <a:sx n="88" d="100"/>
          <a:sy n="88" d="100"/>
        </p:scale>
        <p:origin x="3822" y="6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Arbeitsblat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898913801948989E-2"/>
          <c:y val="4.2159663280068524E-2"/>
          <c:w val="0.943101086198051"/>
          <c:h val="0.85689787132019946"/>
        </c:manualLayout>
      </c:layout>
      <c:barChart>
        <c:barDir val="col"/>
        <c:grouping val="clustered"/>
        <c:varyColors val="0"/>
        <c:ser>
          <c:idx val="0"/>
          <c:order val="0"/>
          <c:tx>
            <c:strRef>
              <c:f>Tabelle1!$B$1</c:f>
              <c:strCache>
                <c:ptCount val="1"/>
                <c:pt idx="0">
                  <c:v>Datenreihe 1</c:v>
                </c:pt>
              </c:strCache>
            </c:strRef>
          </c:tx>
          <c:spPr>
            <a:solidFill>
              <a:schemeClr val="accent3"/>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E95D-4F05-8842-A81A59DB5755}"/>
            </c:ext>
          </c:extLst>
        </c:ser>
        <c:ser>
          <c:idx val="1"/>
          <c:order val="1"/>
          <c:tx>
            <c:strRef>
              <c:f>Tabelle1!$C$1</c:f>
              <c:strCache>
                <c:ptCount val="1"/>
                <c:pt idx="0">
                  <c:v>Datenreihe 2</c:v>
                </c:pt>
              </c:strCache>
            </c:strRef>
          </c:tx>
          <c:spPr>
            <a:solidFill>
              <a:schemeClr val="accent4"/>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E95D-4F05-8842-A81A59DB5755}"/>
            </c:ext>
          </c:extLst>
        </c:ser>
        <c:ser>
          <c:idx val="2"/>
          <c:order val="2"/>
          <c:tx>
            <c:strRef>
              <c:f>Tabelle1!$D$1</c:f>
              <c:strCache>
                <c:ptCount val="1"/>
                <c:pt idx="0">
                  <c:v>Datenreihe 3</c:v>
                </c:pt>
              </c:strCache>
            </c:strRef>
          </c:tx>
          <c:spPr>
            <a:solidFill>
              <a:schemeClr val="accent5"/>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E95D-4F05-8842-A81A59DB5755}"/>
            </c:ext>
          </c:extLst>
        </c:ser>
        <c:ser>
          <c:idx val="3"/>
          <c:order val="3"/>
          <c:tx>
            <c:strRef>
              <c:f>Tabelle1!$E$1</c:f>
              <c:strCache>
                <c:ptCount val="1"/>
                <c:pt idx="0">
                  <c:v>Datenreihe 4</c:v>
                </c:pt>
              </c:strCache>
            </c:strRef>
          </c:tx>
          <c:spPr>
            <a:solidFill>
              <a:schemeClr val="accent6"/>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E$2:$E$5</c:f>
              <c:numCache>
                <c:formatCode>General</c:formatCode>
                <c:ptCount val="4"/>
                <c:pt idx="0">
                  <c:v>2.2999999999999998</c:v>
                </c:pt>
                <c:pt idx="1">
                  <c:v>4</c:v>
                </c:pt>
                <c:pt idx="2">
                  <c:v>3.7</c:v>
                </c:pt>
                <c:pt idx="3">
                  <c:v>2.2999999999999998</c:v>
                </c:pt>
              </c:numCache>
            </c:numRef>
          </c:val>
          <c:extLst>
            <c:ext xmlns:c16="http://schemas.microsoft.com/office/drawing/2014/chart" uri="{C3380CC4-5D6E-409C-BE32-E72D297353CC}">
              <c16:uniqueId val="{00000003-E95D-4F05-8842-A81A59DB5755}"/>
            </c:ext>
          </c:extLst>
        </c:ser>
        <c:ser>
          <c:idx val="4"/>
          <c:order val="4"/>
          <c:tx>
            <c:strRef>
              <c:f>Tabelle1!$F$1</c:f>
              <c:strCache>
                <c:ptCount val="1"/>
                <c:pt idx="0">
                  <c:v>Datenreihe 5</c:v>
                </c:pt>
              </c:strCache>
            </c:strRef>
          </c:tx>
          <c:spPr>
            <a:solidFill>
              <a:schemeClr val="accent1"/>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F$2:$F$5</c:f>
              <c:numCache>
                <c:formatCode>General</c:formatCode>
                <c:ptCount val="4"/>
                <c:pt idx="0">
                  <c:v>5.6</c:v>
                </c:pt>
                <c:pt idx="1">
                  <c:v>3.5</c:v>
                </c:pt>
                <c:pt idx="2">
                  <c:v>4</c:v>
                </c:pt>
                <c:pt idx="3">
                  <c:v>4</c:v>
                </c:pt>
              </c:numCache>
            </c:numRef>
          </c:val>
          <c:extLst>
            <c:ext xmlns:c16="http://schemas.microsoft.com/office/drawing/2014/chart" uri="{C3380CC4-5D6E-409C-BE32-E72D297353CC}">
              <c16:uniqueId val="{00000004-E95D-4F05-8842-A81A59DB5755}"/>
            </c:ext>
          </c:extLst>
        </c:ser>
        <c:ser>
          <c:idx val="5"/>
          <c:order val="5"/>
          <c:tx>
            <c:strRef>
              <c:f>Tabelle1!$G$1</c:f>
              <c:strCache>
                <c:ptCount val="1"/>
                <c:pt idx="0">
                  <c:v>Datenreihe 6</c:v>
                </c:pt>
              </c:strCache>
            </c:strRef>
          </c:tx>
          <c:spPr>
            <a:solidFill>
              <a:schemeClr val="accent2"/>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G$2:$G$5</c:f>
              <c:numCache>
                <c:formatCode>General</c:formatCode>
                <c:ptCount val="4"/>
                <c:pt idx="0">
                  <c:v>4.5999999999999996</c:v>
                </c:pt>
                <c:pt idx="1">
                  <c:v>2.2999999999999998</c:v>
                </c:pt>
                <c:pt idx="2">
                  <c:v>3.6</c:v>
                </c:pt>
                <c:pt idx="3">
                  <c:v>4.5999999999999996</c:v>
                </c:pt>
              </c:numCache>
            </c:numRef>
          </c:val>
          <c:extLst>
            <c:ext xmlns:c16="http://schemas.microsoft.com/office/drawing/2014/chart" uri="{C3380CC4-5D6E-409C-BE32-E72D297353CC}">
              <c16:uniqueId val="{00000005-E95D-4F05-8842-A81A59DB5755}"/>
            </c:ext>
          </c:extLst>
        </c:ser>
        <c:dLbls>
          <c:showLegendKey val="0"/>
          <c:showVal val="0"/>
          <c:showCatName val="0"/>
          <c:showSerName val="0"/>
          <c:showPercent val="0"/>
          <c:showBubbleSize val="0"/>
        </c:dLbls>
        <c:gapWidth val="150"/>
        <c:overlap val="-20"/>
        <c:axId val="971384272"/>
        <c:axId val="971379952"/>
      </c:barChart>
      <c:catAx>
        <c:axId val="971384272"/>
        <c:scaling>
          <c:orientation val="minMax"/>
        </c:scaling>
        <c:delete val="0"/>
        <c:axPos val="b"/>
        <c:numFmt formatCode="General" sourceLinked="1"/>
        <c:majorTickMark val="none"/>
        <c:minorTickMark val="none"/>
        <c:tickLblPos val="nextTo"/>
        <c:spPr>
          <a:noFill/>
          <a:ln w="12700" cap="flat" cmpd="sng" algn="ctr">
            <a:solidFill>
              <a:schemeClr val="tx1">
                <a:lumMod val="75000"/>
                <a:lumOff val="25000"/>
              </a:schemeClr>
            </a:solidFill>
            <a:round/>
          </a:ln>
          <a:effectLst/>
        </c:spPr>
        <c:txPr>
          <a:bodyPr rot="-60000000" spcFirstLastPara="1" vertOverflow="ellipsis" vert="horz" wrap="square" anchor="ctr" anchorCtr="1"/>
          <a:lstStyle/>
          <a:p>
            <a:pPr>
              <a:defRPr sz="1197" b="1" i="0" u="none" strike="noStrike" kern="1200" spc="100" baseline="0">
                <a:solidFill>
                  <a:schemeClr val="tx1">
                    <a:lumMod val="75000"/>
                    <a:lumOff val="25000"/>
                  </a:schemeClr>
                </a:solidFill>
                <a:latin typeface="+mn-lt"/>
                <a:ea typeface="+mn-ea"/>
                <a:cs typeface="+mn-cs"/>
              </a:defRPr>
            </a:pPr>
            <a:endParaRPr lang="de-DE"/>
          </a:p>
        </c:txPr>
        <c:crossAx val="971379952"/>
        <c:crosses val="autoZero"/>
        <c:auto val="1"/>
        <c:lblAlgn val="ctr"/>
        <c:lblOffset val="100"/>
        <c:noMultiLvlLbl val="0"/>
      </c:catAx>
      <c:valAx>
        <c:axId val="971379952"/>
        <c:scaling>
          <c:orientation val="minMax"/>
        </c:scaling>
        <c:delete val="0"/>
        <c:axPos val="l"/>
        <c:majorGridlines>
          <c:spPr>
            <a:ln w="6350" cap="flat" cmpd="sng" algn="ctr">
              <a:solidFill>
                <a:schemeClr val="bg1">
                  <a:lumMod val="75000"/>
                </a:schemeClr>
              </a:solidFill>
              <a:round/>
            </a:ln>
            <a:effectLst/>
          </c:spPr>
        </c:majorGridlines>
        <c:numFmt formatCode="General" sourceLinked="1"/>
        <c:majorTickMark val="none"/>
        <c:minorTickMark val="none"/>
        <c:tickLblPos val="nextTo"/>
        <c:spPr>
          <a:noFill/>
          <a:ln w="12700">
            <a:solidFill>
              <a:schemeClr val="tx1">
                <a:lumMod val="75000"/>
                <a:lumOff val="25000"/>
              </a:schemeClr>
            </a:solidFill>
          </a:ln>
          <a:effectLst/>
        </c:spPr>
        <c:txPr>
          <a:bodyPr rot="-60000000" spcFirstLastPara="1" vertOverflow="ellipsis" vert="horz" wrap="square" anchor="ctr" anchorCtr="1"/>
          <a:lstStyle/>
          <a:p>
            <a:pPr>
              <a:defRPr sz="1197" b="1" i="0" u="none" strike="noStrike" kern="1200" spc="100" baseline="0">
                <a:solidFill>
                  <a:schemeClr val="tx1">
                    <a:lumMod val="75000"/>
                    <a:lumOff val="25000"/>
                  </a:schemeClr>
                </a:solidFill>
                <a:latin typeface="+mn-lt"/>
                <a:ea typeface="+mn-ea"/>
                <a:cs typeface="+mn-cs"/>
              </a:defRPr>
            </a:pPr>
            <a:endParaRPr lang="de-DE"/>
          </a:p>
        </c:txPr>
        <c:crossAx val="97138427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D1FC442-79DA-4C9F-836F-0CB1972FE134}" type="datetimeFigureOut">
              <a:rPr lang="de-DE" smtClean="0"/>
              <a:t>23.10.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08EC0F0-6FEC-4115-A888-5C6E15144039}" type="slidenum">
              <a:rPr lang="de-DE" smtClean="0"/>
              <a:t>‹Nr.›</a:t>
            </a:fld>
            <a:endParaRPr lang="de-DE"/>
          </a:p>
        </p:txBody>
      </p:sp>
    </p:spTree>
    <p:extLst>
      <p:ext uri="{BB962C8B-B14F-4D97-AF65-F5344CB8AC3E}">
        <p14:creationId xmlns:p14="http://schemas.microsoft.com/office/powerpoint/2010/main" val="3009918674"/>
      </p:ext>
    </p:extLst>
  </p:cSld>
  <p:clrMap bg1="lt1" tx1="dk1" bg2="lt2" tx2="dk2" accent1="accent1" accent2="accent2" accent3="accent3" accent4="accent4" accent5="accent5" accent6="accent6" hlink="hlink" folHlink="folHlink"/>
  <p:notesStyle>
    <a:lvl1pPr marL="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mebis.bycs.de/beitrag/sexualisierte_inhalte" TargetMode="External"/><Relationship Id="rId2" Type="http://schemas.openxmlformats.org/officeDocument/2006/relationships/slide" Target="../slides/slide1.xml"/><Relationship Id="rId1" Type="http://schemas.openxmlformats.org/officeDocument/2006/relationships/notesMaster" Target="../notesMasters/notesMaster1.xml"/><Relationship Id="rId4" Type="http://schemas.openxmlformats.org/officeDocument/2006/relationships/hyperlink" Target="https://mebis.bycs.de/beitrag/sexualisierte_inhalte-eltern" TargetMode="Externa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mebis.bycs.de/beitrag/sexualisierte_inhalte-eltern"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mebis.bycs.de/beitrag/sexualisierte_inhalte"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Problematische Körperbilder </a:t>
            </a:r>
            <a:r>
              <a:rPr lang="de-DE" b="1" dirty="0" smtClean="0"/>
              <a:t>/ Titelfolie </a:t>
            </a:r>
            <a:r>
              <a:rPr lang="de-DE" b="1" baseline="0" dirty="0" smtClean="0"/>
              <a:t>Problematische Körperbilde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1" baseline="0" dirty="0" smtClean="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100" baseline="0" dirty="0" smtClean="0">
                <a:latin typeface="Arial" panose="020B0604020202020204" pitchFamily="34" charset="0"/>
                <a:cs typeface="Arial" panose="020B0604020202020204" pitchFamily="34" charset="0"/>
              </a:rPr>
              <a:t>Die vorliegende Präsentationsvorlage bietet Ihnen Anregungen, wie Sie die im Rahmen der „Digitalen Schule der Zukunft“ entstandenen Materialien der BLM Stiftung Medienpädagogik Bayern für die Durchführung eines medienpädagogischen Elternabends nutzen könn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sz="1100" baseline="0" dirty="0" smtClean="0">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100" baseline="0" dirty="0" smtClean="0">
                <a:latin typeface="Arial" panose="020B0604020202020204" pitchFamily="34" charset="0"/>
                <a:cs typeface="Arial" panose="020B0604020202020204" pitchFamily="34" charset="0"/>
              </a:rPr>
              <a:t>Die Präsentationsvorlage enthält einen Einstiegsclip, mögliche Einstiegsfragen, sowie verschiedene Praxisbeispiele, die Sie gemeinsam mit den Eltern bearbeiten können. In den Foliennotizen finden Sie zusätzlich ergänzende Hinweise zum Einsatz der Inhalte und Praxisbeispie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100" baseline="0" dirty="0" smtClean="0">
                <a:latin typeface="Arial" panose="020B0604020202020204" pitchFamily="34" charset="0"/>
                <a:cs typeface="Arial" panose="020B0604020202020204" pitchFamily="34" charset="0"/>
              </a:rPr>
              <a:t>Die Praxisbeispiele (Anklickbare Grafiken und Interaktive Schaubilder) sind jeweils auf den Folien verlinkt, daher ist eine Internetverbindung erforderlich. Für eine Offline-Verwendung müssen die Praxisbeispiele im Vorfeld aus dem mebis Magazin heruntergeladen und außerhalb der Präsentation geöffnet werd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100" baseline="0" dirty="0" smtClean="0">
                <a:latin typeface="Arial" panose="020B0604020202020204" pitchFamily="34" charset="0"/>
                <a:cs typeface="Arial" panose="020B0604020202020204" pitchFamily="34" charset="0"/>
              </a:rPr>
              <a:t>Unterstützend können Sie den </a:t>
            </a:r>
            <a:r>
              <a:rPr lang="de-DE" sz="1100" u="sng" baseline="0" dirty="0" smtClean="0">
                <a:latin typeface="Arial" panose="020B0604020202020204" pitchFamily="34" charset="0"/>
                <a:cs typeface="Arial" panose="020B0604020202020204" pitchFamily="34" charset="0"/>
              </a:rPr>
              <a:t>Leitfaden zur Durchführung eines medienpädagogischen Elternabends zum Thema „Sexualisierte Inhalte“</a:t>
            </a:r>
            <a:r>
              <a:rPr lang="de-DE" sz="1100" dirty="0" smtClean="0">
                <a:latin typeface="Arial" panose="020B0604020202020204" pitchFamily="34" charset="0"/>
                <a:cs typeface="Arial" panose="020B0604020202020204" pitchFamily="34" charset="0"/>
              </a:rPr>
              <a:t> </a:t>
            </a:r>
            <a:r>
              <a:rPr lang="de-DE" sz="1100" baseline="0" dirty="0" smtClean="0">
                <a:latin typeface="Arial" panose="020B0604020202020204" pitchFamily="34" charset="0"/>
                <a:cs typeface="Arial" panose="020B0604020202020204" pitchFamily="34" charset="0"/>
              </a:rPr>
              <a:t>im mebis Magazin nutzen. </a:t>
            </a:r>
            <a:r>
              <a:rPr lang="de-DE" sz="1100" kern="1200" dirty="0" smtClean="0">
                <a:solidFill>
                  <a:schemeClr val="tx1"/>
                </a:solidFill>
                <a:effectLst/>
                <a:latin typeface="Arial" panose="020B0604020202020204" pitchFamily="34" charset="0"/>
                <a:ea typeface="+mn-ea"/>
                <a:cs typeface="Arial" panose="020B0604020202020204" pitchFamily="34" charset="0"/>
              </a:rPr>
              <a:t>In diesem finden Sie u.a. Anregungen zum Ablauf sowie weitere Praxisbeispiele für den Einsatz bei Elternabend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100" baseline="0" dirty="0" smtClean="0">
                <a:latin typeface="Arial" panose="020B0604020202020204" pitchFamily="34" charset="0"/>
                <a:cs typeface="Arial" panose="020B0604020202020204" pitchFamily="34" charset="0"/>
              </a:rPr>
              <a:t>Am Ende der Präsentation finden Sie ausgeblendete, gelayoutete Folien, die Sie mit Inhalten füllen können. Sie können so die Präsentation entsprechend Ihrer Wünsche anpassen bzw. gestalten. Sollten Sie die leeren Folien nicht benötigen, können Sie diese lösche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e-DE" sz="1100" baseline="0" dirty="0" smtClean="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100" baseline="0" dirty="0" smtClean="0">
                <a:latin typeface="Arial" panose="020B0604020202020204" pitchFamily="34" charset="0"/>
                <a:cs typeface="Arial" panose="020B0604020202020204" pitchFamily="34" charset="0"/>
              </a:rPr>
              <a:t>Sie finden alle Materialien und Anleitungen für Lehrkräfte zum Thema „Sexualisierte Inhalte“ unter folgendem Link:</a:t>
            </a:r>
            <a:br>
              <a:rPr lang="de-DE" sz="1100" baseline="0" dirty="0" smtClean="0">
                <a:latin typeface="Arial" panose="020B0604020202020204" pitchFamily="34" charset="0"/>
                <a:cs typeface="Arial" panose="020B0604020202020204" pitchFamily="34" charset="0"/>
              </a:rPr>
            </a:br>
            <a:r>
              <a:rPr lang="de-DE" sz="1100" b="1" baseline="0" dirty="0" smtClean="0">
                <a:latin typeface="Arial" panose="020B0604020202020204" pitchFamily="34" charset="0"/>
                <a:cs typeface="Arial" panose="020B0604020202020204" pitchFamily="34" charset="0"/>
                <a:hlinkClick r:id="rId3"/>
              </a:rPr>
              <a:t>https://mebis.bycs.de/beitrag/sexualisierte_inhalte</a:t>
            </a:r>
            <a:r>
              <a:rPr lang="de-DE" sz="1100" b="1" baseline="0" dirty="0" smtClean="0">
                <a:latin typeface="Arial" panose="020B0604020202020204" pitchFamily="34" charset="0"/>
                <a:cs typeface="Arial" panose="020B0604020202020204" pitchFamily="34" charset="0"/>
              </a:rPr>
              <a:t> </a:t>
            </a:r>
            <a:endParaRPr lang="de-DE" dirty="0" smtClean="0"/>
          </a:p>
          <a:p>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sz="1100" i="1" kern="1200" dirty="0" smtClean="0">
                <a:solidFill>
                  <a:schemeClr val="tx1"/>
                </a:solidFill>
                <a:effectLst/>
                <a:latin typeface="Arial" panose="020B0604020202020204" pitchFamily="34" charset="0"/>
                <a:ea typeface="+mn-ea"/>
                <a:cs typeface="Arial" panose="020B0604020202020204" pitchFamily="34" charset="0"/>
              </a:rPr>
              <a:t>Hinweis: </a:t>
            </a:r>
            <a:r>
              <a:rPr lang="de-DE" sz="1100" i="0" kern="1200" dirty="0" smtClean="0">
                <a:solidFill>
                  <a:schemeClr val="tx1"/>
                </a:solidFill>
                <a:effectLst/>
                <a:latin typeface="Arial" panose="020B0604020202020204" pitchFamily="34" charset="0"/>
                <a:ea typeface="+mn-ea"/>
                <a:cs typeface="Arial" panose="020B0604020202020204" pitchFamily="34" charset="0"/>
              </a:rPr>
              <a:t>Die vorliegende Präsentation ist nicht zur Weitergabe an die Eltern gedacht. Für Eltern gibt es zum Thema passgenaue medienpädagogische Materialien, auf die Sie anstelle der Präsentation verweisen können. </a:t>
            </a:r>
            <a:r>
              <a:rPr lang="de-DE" sz="1100" i="0" kern="1200" smtClean="0">
                <a:solidFill>
                  <a:schemeClr val="tx1"/>
                </a:solidFill>
                <a:effectLst/>
                <a:latin typeface="Arial" panose="020B0604020202020204" pitchFamily="34" charset="0"/>
                <a:ea typeface="+mn-ea"/>
                <a:cs typeface="Arial" panose="020B0604020202020204" pitchFamily="34" charset="0"/>
              </a:rPr>
              <a:t>Diese finden Sie im mebis Magazin unter folgendem Link:</a:t>
            </a:r>
            <a:r>
              <a:rPr lang="de-DE" sz="1100" i="1" kern="1200" smtClean="0">
                <a:solidFill>
                  <a:schemeClr val="tx1"/>
                </a:solidFill>
                <a:effectLst/>
                <a:latin typeface="Arial" panose="020B0604020202020204" pitchFamily="34" charset="0"/>
                <a:ea typeface="+mn-ea"/>
                <a:cs typeface="Arial" panose="020B0604020202020204" pitchFamily="34" charset="0"/>
              </a:rPr>
              <a:t/>
            </a:r>
            <a:br>
              <a:rPr lang="de-DE" sz="1100" i="1" kern="1200" smtClean="0">
                <a:solidFill>
                  <a:schemeClr val="tx1"/>
                </a:solidFill>
                <a:effectLst/>
                <a:latin typeface="Arial" panose="020B0604020202020204" pitchFamily="34" charset="0"/>
                <a:ea typeface="+mn-ea"/>
                <a:cs typeface="Arial" panose="020B0604020202020204" pitchFamily="34" charset="0"/>
              </a:rPr>
            </a:br>
            <a:r>
              <a:rPr lang="de-DE" sz="1100" b="1" i="0" u="sng" kern="1200" smtClean="0">
                <a:solidFill>
                  <a:schemeClr val="tx1"/>
                </a:solidFill>
                <a:effectLst/>
                <a:latin typeface="Arial" panose="020B0604020202020204" pitchFamily="34" charset="0"/>
                <a:ea typeface="+mn-ea"/>
                <a:cs typeface="Arial" panose="020B0604020202020204" pitchFamily="34" charset="0"/>
                <a:hlinkClick r:id="rId4"/>
              </a:rPr>
              <a:t>https://mebis.bycs.de/beitrag/sexualisierte_inhalte-eltern</a:t>
            </a:r>
            <a:r>
              <a:rPr lang="de-DE" sz="1100" b="1" i="0" u="sng" kern="1200" smtClean="0">
                <a:solidFill>
                  <a:schemeClr val="tx1"/>
                </a:solidFill>
                <a:effectLst/>
                <a:latin typeface="Arial" panose="020B0604020202020204" pitchFamily="34" charset="0"/>
                <a:ea typeface="+mn-ea"/>
                <a:cs typeface="Arial" panose="020B0604020202020204" pitchFamily="34" charset="0"/>
              </a:rPr>
              <a:t> </a:t>
            </a:r>
            <a:endParaRPr lang="de-DE" dirty="0" smtClean="0"/>
          </a:p>
        </p:txBody>
      </p:sp>
      <p:sp>
        <p:nvSpPr>
          <p:cNvPr id="4" name="Foliennummernplatzhalter 3"/>
          <p:cNvSpPr>
            <a:spLocks noGrp="1"/>
          </p:cNvSpPr>
          <p:nvPr>
            <p:ph type="sldNum" sz="quarter" idx="10"/>
          </p:nvPr>
        </p:nvSpPr>
        <p:spPr/>
        <p:txBody>
          <a:bodyPr/>
          <a:lstStyle/>
          <a:p>
            <a:fld id="{008EC0F0-6FEC-4115-A888-5C6E15144039}" type="slidenum">
              <a:rPr lang="de-DE" smtClean="0"/>
              <a:t>1</a:t>
            </a:fld>
            <a:endParaRPr lang="de-DE"/>
          </a:p>
        </p:txBody>
      </p:sp>
    </p:spTree>
    <p:extLst>
      <p:ext uri="{BB962C8B-B14F-4D97-AF65-F5344CB8AC3E}">
        <p14:creationId xmlns:p14="http://schemas.microsoft.com/office/powerpoint/2010/main" val="40652215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Problematische Körperbilder </a:t>
            </a:r>
            <a:r>
              <a:rPr lang="de-DE" b="1" dirty="0" smtClean="0"/>
              <a:t>/ Praxisbeispiel „Merle will</a:t>
            </a:r>
            <a:r>
              <a:rPr lang="de-DE" b="1" baseline="0" dirty="0" smtClean="0"/>
              <a:t> so sein wie…“ (Comic)</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0</a:t>
            </a:fld>
            <a:endParaRPr lang="de-DE"/>
          </a:p>
        </p:txBody>
      </p:sp>
    </p:spTree>
    <p:extLst>
      <p:ext uri="{BB962C8B-B14F-4D97-AF65-F5344CB8AC3E}">
        <p14:creationId xmlns:p14="http://schemas.microsoft.com/office/powerpoint/2010/main" val="9721775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Problematische Körperbilder </a:t>
            </a:r>
            <a:r>
              <a:rPr lang="de-DE" b="1" dirty="0" smtClean="0"/>
              <a:t>/ Handlungstipps zu </a:t>
            </a:r>
            <a:r>
              <a:rPr lang="de-DE" b="1" baseline="0" dirty="0" smtClean="0"/>
              <a:t>Problematischen Körperbilder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baseline="0" dirty="0" smtClean="0"/>
              <a:t>Ausführliche Handlungstipps finden Sie unter „Angebote für Erziehungsberechtigte“ im Themenbereich „Sexualisierte Inhalte“ unter folgendem Link:</a:t>
            </a:r>
            <a:br>
              <a:rPr lang="de-DE" baseline="0" dirty="0" smtClean="0"/>
            </a:br>
            <a:r>
              <a:rPr lang="de-DE" baseline="0" dirty="0" smtClean="0">
                <a:hlinkClick r:id="rId3"/>
              </a:rPr>
              <a:t>https://mebis.bycs.de/beitrag/sexualisierte_inhalte-eltern</a:t>
            </a:r>
            <a:r>
              <a:rPr lang="de-DE" baseline="0" dirty="0" smtClean="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baseline="0" dirty="0" smtClean="0"/>
              <a:t>Diese können Sie unterstützend für die Diskussion mit den Eltern nutzen.</a:t>
            </a:r>
            <a:endParaRPr lang="de-DE" dirty="0" smtClean="0"/>
          </a:p>
          <a:p>
            <a:r>
              <a:rPr lang="de-DE" dirty="0" smtClean="0"/>
              <a:t/>
            </a:r>
            <a:br>
              <a:rPr lang="de-DE" dirty="0" smtClean="0"/>
            </a:br>
            <a:endParaRPr lang="de-DE"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1</a:t>
            </a:fld>
            <a:endParaRPr lang="de-DE"/>
          </a:p>
        </p:txBody>
      </p:sp>
    </p:spTree>
    <p:extLst>
      <p:ext uri="{BB962C8B-B14F-4D97-AF65-F5344CB8AC3E}">
        <p14:creationId xmlns:p14="http://schemas.microsoft.com/office/powerpoint/2010/main" val="7701075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Problematische Körperbilder </a:t>
            </a:r>
            <a:r>
              <a:rPr lang="de-DE" b="1" dirty="0" smtClean="0"/>
              <a:t>/ Weitere Informationen für Eltern</a:t>
            </a:r>
            <a:endParaRPr lang="de-DE" b="1" baseline="0" dirty="0" smtClean="0"/>
          </a:p>
          <a:p>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Abschließend</a:t>
            </a:r>
            <a:r>
              <a:rPr lang="de-DE" baseline="0" dirty="0" smtClean="0"/>
              <a:t> können Sie auf die Materialien der BLM Stiftung Medienpädagogik Bayern zu weiteren relevanten Medienthemen verweisen, die kostenfrei für Eltern im mebis Magazin zur Verfügung stehen. Eltern finden darin Hintergrundinformationen und hilfreiche Tipps für die Medienerziehung zu Hause.</a:t>
            </a:r>
            <a:br>
              <a:rPr lang="de-DE" baseline="0" dirty="0" smtClean="0"/>
            </a:br>
            <a:r>
              <a:rPr lang="de-DE" baseline="0" dirty="0" smtClean="0"/>
              <a:t>Dort finden sich auch Elternmaterialien in anderen Sprachen.</a:t>
            </a:r>
            <a:endParaRPr lang="de-DE" b="1"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2</a:t>
            </a:fld>
            <a:endParaRPr lang="de-DE"/>
          </a:p>
        </p:txBody>
      </p:sp>
    </p:spTree>
    <p:extLst>
      <p:ext uri="{BB962C8B-B14F-4D97-AF65-F5344CB8AC3E}">
        <p14:creationId xmlns:p14="http://schemas.microsoft.com/office/powerpoint/2010/main" val="27973261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Problematische Körperbilder </a:t>
            </a:r>
            <a:r>
              <a:rPr lang="de-DE" b="1" dirty="0" smtClean="0"/>
              <a:t>/ Impressum</a:t>
            </a:r>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3</a:t>
            </a:fld>
            <a:endParaRPr lang="de-DE"/>
          </a:p>
        </p:txBody>
      </p:sp>
    </p:spTree>
    <p:extLst>
      <p:ext uri="{BB962C8B-B14F-4D97-AF65-F5344CB8AC3E}">
        <p14:creationId xmlns:p14="http://schemas.microsoft.com/office/powerpoint/2010/main" val="32364836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008EC0F0-6FEC-4115-A888-5C6E15144039}" type="slidenum">
              <a:rPr lang="de-DE" smtClean="0"/>
              <a:t>14</a:t>
            </a:fld>
            <a:endParaRPr lang="de-DE"/>
          </a:p>
        </p:txBody>
      </p:sp>
    </p:spTree>
    <p:extLst>
      <p:ext uri="{BB962C8B-B14F-4D97-AF65-F5344CB8AC3E}">
        <p14:creationId xmlns:p14="http://schemas.microsoft.com/office/powerpoint/2010/main" val="15014003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008EC0F0-6FEC-4115-A888-5C6E15144039}" type="slidenum">
              <a:rPr lang="de-DE" smtClean="0"/>
              <a:t>15</a:t>
            </a:fld>
            <a:endParaRPr lang="de-DE"/>
          </a:p>
        </p:txBody>
      </p:sp>
    </p:spTree>
    <p:extLst>
      <p:ext uri="{BB962C8B-B14F-4D97-AF65-F5344CB8AC3E}">
        <p14:creationId xmlns:p14="http://schemas.microsoft.com/office/powerpoint/2010/main" val="41437325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008EC0F0-6FEC-4115-A888-5C6E15144039}" type="slidenum">
              <a:rPr lang="de-DE" smtClean="0"/>
              <a:t>16</a:t>
            </a:fld>
            <a:endParaRPr lang="de-DE"/>
          </a:p>
        </p:txBody>
      </p:sp>
    </p:spTree>
    <p:extLst>
      <p:ext uri="{BB962C8B-B14F-4D97-AF65-F5344CB8AC3E}">
        <p14:creationId xmlns:p14="http://schemas.microsoft.com/office/powerpoint/2010/main" val="19470997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008EC0F0-6FEC-4115-A888-5C6E15144039}" type="slidenum">
              <a:rPr lang="de-DE" smtClean="0"/>
              <a:t>17</a:t>
            </a:fld>
            <a:endParaRPr lang="de-DE"/>
          </a:p>
        </p:txBody>
      </p:sp>
    </p:spTree>
    <p:extLst>
      <p:ext uri="{BB962C8B-B14F-4D97-AF65-F5344CB8AC3E}">
        <p14:creationId xmlns:p14="http://schemas.microsoft.com/office/powerpoint/2010/main" val="715334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Problematische Körperbilder / Einstiegsclip „</a:t>
            </a:r>
            <a:r>
              <a:rPr lang="de-DE" b="1" baseline="0" dirty="0" err="1" smtClean="0"/>
              <a:t>Sexting</a:t>
            </a:r>
            <a:r>
              <a:rPr lang="de-DE" b="1" baseline="0" dirty="0" smtClean="0"/>
              <a:t>, </a:t>
            </a:r>
            <a:r>
              <a:rPr lang="de-DE" b="1" baseline="0" dirty="0" err="1" smtClean="0"/>
              <a:t>Nudes</a:t>
            </a:r>
            <a:r>
              <a:rPr lang="de-DE" b="1" baseline="0" dirty="0" smtClean="0"/>
              <a:t>, Pornos – Wie umgehen mit sexualisierten Inhalten im Netz?“</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r>
              <a:rPr lang="de-DE" dirty="0" smtClean="0"/>
              <a:t>Dieser</a:t>
            </a:r>
            <a:r>
              <a:rPr lang="de-DE" baseline="0" dirty="0" smtClean="0"/>
              <a:t> </a:t>
            </a:r>
            <a:r>
              <a:rPr lang="de-DE" dirty="0" smtClean="0"/>
              <a:t>Clip befindet sich auch im mebis Magazin unter folgendem Link: </a:t>
            </a:r>
            <a:br>
              <a:rPr lang="de-DE" dirty="0" smtClean="0"/>
            </a:br>
            <a:r>
              <a:rPr lang="de-DE" dirty="0" smtClean="0">
                <a:hlinkClick r:id="rId3"/>
              </a:rPr>
              <a:t>https://mebis.bycs.de/beitrag/sexualisierte_inhalte</a:t>
            </a:r>
            <a:r>
              <a:rPr lang="de-DE" dirty="0" smtClean="0"/>
              <a:t> </a:t>
            </a:r>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2</a:t>
            </a:fld>
            <a:endParaRPr lang="de-DE"/>
          </a:p>
        </p:txBody>
      </p:sp>
    </p:spTree>
    <p:extLst>
      <p:ext uri="{BB962C8B-B14F-4D97-AF65-F5344CB8AC3E}">
        <p14:creationId xmlns:p14="http://schemas.microsoft.com/office/powerpoint/2010/main" val="20261981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Problematische Körperbilder </a:t>
            </a:r>
            <a:r>
              <a:rPr lang="de-DE" b="1" dirty="0" smtClean="0"/>
              <a:t>/ Titelfolie </a:t>
            </a:r>
            <a:r>
              <a:rPr lang="de-DE" b="1" baseline="0" dirty="0" smtClean="0"/>
              <a:t>Problematische Körperbilder </a:t>
            </a:r>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3</a:t>
            </a:fld>
            <a:endParaRPr lang="de-DE"/>
          </a:p>
        </p:txBody>
      </p:sp>
    </p:spTree>
    <p:extLst>
      <p:ext uri="{BB962C8B-B14F-4D97-AF65-F5344CB8AC3E}">
        <p14:creationId xmlns:p14="http://schemas.microsoft.com/office/powerpoint/2010/main" val="5610007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Problematische Körperbilder </a:t>
            </a:r>
            <a:r>
              <a:rPr lang="de-DE" b="1" dirty="0" smtClean="0"/>
              <a:t>/ Impulsfragen</a:t>
            </a:r>
            <a:endParaRPr lang="de-DE" b="1"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
            </a:r>
            <a:br>
              <a:rPr lang="de-DE" dirty="0" smtClean="0"/>
            </a:br>
            <a:r>
              <a:rPr lang="de-DE" dirty="0" smtClean="0"/>
              <a:t>Weitere</a:t>
            </a:r>
            <a:r>
              <a:rPr lang="de-DE" baseline="0" dirty="0" smtClean="0"/>
              <a:t> mögliche Einstiegsfragen:</a:t>
            </a:r>
          </a:p>
          <a:p>
            <a:pPr marL="171450" indent="-171450">
              <a:buFont typeface="Arial" panose="020B0604020202020204" pitchFamily="34" charset="0"/>
              <a:buChar char="•"/>
            </a:pPr>
            <a:r>
              <a:rPr lang="de-DE" dirty="0" smtClean="0"/>
              <a:t>Hat ihr Kind auch Vorbilder, die Ihrer Meinung nach problematische Körperbilder vermitteln?</a:t>
            </a:r>
          </a:p>
          <a:p>
            <a:pPr marL="171450" indent="-171450">
              <a:buFont typeface="Arial" panose="020B0604020202020204" pitchFamily="34" charset="0"/>
              <a:buChar char="•"/>
            </a:pPr>
            <a:r>
              <a:rPr lang="de-DE" dirty="0" smtClean="0"/>
              <a:t>Kennen Sie die Bewegung Body </a:t>
            </a:r>
            <a:r>
              <a:rPr lang="de-DE" dirty="0" err="1" smtClean="0"/>
              <a:t>Positivity</a:t>
            </a:r>
            <a:r>
              <a:rPr lang="de-DE" dirty="0" smtClean="0"/>
              <a:t> bzw. Body </a:t>
            </a:r>
            <a:r>
              <a:rPr lang="de-DE" dirty="0" err="1" smtClean="0"/>
              <a:t>Neutrality</a:t>
            </a:r>
            <a:r>
              <a:rPr lang="de-DE" dirty="0" smtClean="0"/>
              <a:t> und was halten Sie davon?</a:t>
            </a:r>
          </a:p>
          <a:p>
            <a:pPr marL="171450" indent="-171450">
              <a:buFont typeface="Arial" panose="020B0604020202020204" pitchFamily="34" charset="0"/>
              <a:buChar char="•"/>
            </a:pPr>
            <a:endParaRPr lang="de-DE"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4</a:t>
            </a:fld>
            <a:endParaRPr lang="de-DE"/>
          </a:p>
        </p:txBody>
      </p:sp>
    </p:spTree>
    <p:extLst>
      <p:ext uri="{BB962C8B-B14F-4D97-AF65-F5344CB8AC3E}">
        <p14:creationId xmlns:p14="http://schemas.microsoft.com/office/powerpoint/2010/main" val="508704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Problematische Körperbilder </a:t>
            </a:r>
            <a:r>
              <a:rPr lang="de-DE" b="1" dirty="0" smtClean="0"/>
              <a:t>/ Praxisbeispiel „Merle will</a:t>
            </a:r>
            <a:r>
              <a:rPr lang="de-DE" b="1" baseline="0" dirty="0" smtClean="0"/>
              <a:t> so sein wie…“ (Comic)</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baseline="0" dirty="0" smtClean="0"/>
              <a:t>Bitte beachten Sie auch die Anleitung für das Praxisbeispiel </a:t>
            </a:r>
            <a:r>
              <a:rPr lang="de-DE" dirty="0" smtClean="0"/>
              <a:t>„Merle will so sein wie…“ </a:t>
            </a:r>
            <a:r>
              <a:rPr lang="de-DE" baseline="0" dirty="0" smtClean="0"/>
              <a:t>im mebis Magazi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5</a:t>
            </a:fld>
            <a:endParaRPr lang="de-DE"/>
          </a:p>
        </p:txBody>
      </p:sp>
    </p:spTree>
    <p:extLst>
      <p:ext uri="{BB962C8B-B14F-4D97-AF65-F5344CB8AC3E}">
        <p14:creationId xmlns:p14="http://schemas.microsoft.com/office/powerpoint/2010/main" val="9565937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Problematische Körperbilder </a:t>
            </a:r>
            <a:r>
              <a:rPr lang="de-DE" b="1" dirty="0" smtClean="0"/>
              <a:t>/ Praxisbeispiel „Merle will</a:t>
            </a:r>
            <a:r>
              <a:rPr lang="de-DE" b="1" baseline="0" dirty="0" smtClean="0"/>
              <a:t> so sein wie…“ (Comic)</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6</a:t>
            </a:fld>
            <a:endParaRPr lang="de-DE"/>
          </a:p>
        </p:txBody>
      </p:sp>
    </p:spTree>
    <p:extLst>
      <p:ext uri="{BB962C8B-B14F-4D97-AF65-F5344CB8AC3E}">
        <p14:creationId xmlns:p14="http://schemas.microsoft.com/office/powerpoint/2010/main" val="427183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Problematische Körperbilder </a:t>
            </a:r>
            <a:r>
              <a:rPr lang="de-DE" b="1" dirty="0" smtClean="0"/>
              <a:t>/ Praxisbeispiel „Merle will</a:t>
            </a:r>
            <a:r>
              <a:rPr lang="de-DE" b="1" baseline="0" dirty="0" smtClean="0"/>
              <a:t> so sein wie…“ (Comic)</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7</a:t>
            </a:fld>
            <a:endParaRPr lang="de-DE"/>
          </a:p>
        </p:txBody>
      </p:sp>
    </p:spTree>
    <p:extLst>
      <p:ext uri="{BB962C8B-B14F-4D97-AF65-F5344CB8AC3E}">
        <p14:creationId xmlns:p14="http://schemas.microsoft.com/office/powerpoint/2010/main" val="6805963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Problematische Körperbilder </a:t>
            </a:r>
            <a:r>
              <a:rPr lang="de-DE" b="1" dirty="0" smtClean="0"/>
              <a:t>/ Praxisbeispiel „Merle will</a:t>
            </a:r>
            <a:r>
              <a:rPr lang="de-DE" b="1" baseline="0" dirty="0" smtClean="0"/>
              <a:t> so sein wie…“ (Comic)</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8</a:t>
            </a:fld>
            <a:endParaRPr lang="de-DE"/>
          </a:p>
        </p:txBody>
      </p:sp>
    </p:spTree>
    <p:extLst>
      <p:ext uri="{BB962C8B-B14F-4D97-AF65-F5344CB8AC3E}">
        <p14:creationId xmlns:p14="http://schemas.microsoft.com/office/powerpoint/2010/main" val="220342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Problematische Körperbilder </a:t>
            </a:r>
            <a:r>
              <a:rPr lang="de-DE" b="1" dirty="0" smtClean="0"/>
              <a:t>/ Praxisbeispiel „Merle will</a:t>
            </a:r>
            <a:r>
              <a:rPr lang="de-DE" b="1" baseline="0" dirty="0" smtClean="0"/>
              <a:t> so sein wie…“ (Comic)</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9</a:t>
            </a:fld>
            <a:endParaRPr lang="de-DE"/>
          </a:p>
        </p:txBody>
      </p:sp>
    </p:spTree>
    <p:extLst>
      <p:ext uri="{BB962C8B-B14F-4D97-AF65-F5344CB8AC3E}">
        <p14:creationId xmlns:p14="http://schemas.microsoft.com/office/powerpoint/2010/main" val="55116127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7.svg"/><Relationship Id="rId4"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01">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7061E276-59BF-C351-D33B-A259B36CA173}"/>
              </a:ext>
            </a:extLst>
          </p:cNvPr>
          <p:cNvSpPr>
            <a:spLocks noGrp="1"/>
          </p:cNvSpPr>
          <p:nvPr>
            <p:ph type="body" sz="quarter" idx="11" hasCustomPrompt="1"/>
          </p:nvPr>
        </p:nvSpPr>
        <p:spPr>
          <a:xfrm>
            <a:off x="550864" y="4013626"/>
            <a:ext cx="5545136" cy="830997"/>
          </a:xfrm>
          <a:prstGeom prst="rect">
            <a:avLst/>
          </a:prstGeom>
        </p:spPr>
        <p:txBody>
          <a:bodyPr wrap="square" lIns="0" tIns="0" rIns="0" bIns="0">
            <a:spAutoFit/>
          </a:bodyPr>
          <a:lstStyle>
            <a:lvl1pPr marL="0" indent="0">
              <a:lnSpc>
                <a:spcPct val="100000"/>
              </a:lnSpc>
              <a:spcBef>
                <a:spcPts val="0"/>
              </a:spcBef>
              <a:buNone/>
              <a:defRPr sz="1800" spc="100" baseline="0">
                <a:solidFill>
                  <a:schemeClr val="tx1">
                    <a:lumMod val="75000"/>
                    <a:lumOff val="25000"/>
                  </a:schemeClr>
                </a:solidFill>
              </a:defRPr>
            </a:lvl1pPr>
          </a:lstStyle>
          <a:p>
            <a:pPr lvl="0"/>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consetetur</a:t>
            </a:r>
            <a:r>
              <a:rPr lang="de-DE" dirty="0"/>
              <a:t> </a:t>
            </a:r>
            <a:br>
              <a:rPr lang="de-DE" dirty="0"/>
            </a:br>
            <a:r>
              <a:rPr lang="de-DE" dirty="0" err="1"/>
              <a:t>sadipscing</a:t>
            </a:r>
            <a:r>
              <a:rPr lang="de-DE" dirty="0"/>
              <a:t> </a:t>
            </a:r>
            <a:r>
              <a:rPr lang="de-DE" dirty="0" err="1"/>
              <a:t>elitr</a:t>
            </a:r>
            <a:r>
              <a:rPr lang="de-DE" dirty="0"/>
              <a:t>, sed </a:t>
            </a:r>
            <a:r>
              <a:rPr lang="de-DE" dirty="0" err="1"/>
              <a:t>nonumy</a:t>
            </a:r>
            <a:r>
              <a:rPr lang="de-DE" dirty="0"/>
              <a:t> </a:t>
            </a:r>
            <a:r>
              <a:rPr lang="de-DE" dirty="0" err="1"/>
              <a:t>dolor</a:t>
            </a:r>
            <a:r>
              <a:rPr lang="de-DE" dirty="0"/>
              <a:t> </a:t>
            </a:r>
            <a:br>
              <a:rPr lang="de-DE" dirty="0"/>
            </a:br>
            <a:r>
              <a:rPr lang="de-DE" dirty="0" err="1"/>
              <a:t>eirmod</a:t>
            </a:r>
            <a:r>
              <a:rPr lang="de-DE" dirty="0"/>
              <a:t> </a:t>
            </a:r>
            <a:r>
              <a:rPr lang="de-DE" dirty="0" err="1"/>
              <a:t>tempor</a:t>
            </a:r>
            <a:r>
              <a:rPr lang="de-DE" dirty="0"/>
              <a:t> </a:t>
            </a:r>
            <a:r>
              <a:rPr lang="de-DE" dirty="0" err="1"/>
              <a:t>invidunt</a:t>
            </a:r>
            <a:r>
              <a:rPr lang="de-DE" dirty="0"/>
              <a:t> </a:t>
            </a:r>
            <a:r>
              <a:rPr lang="de-DE" dirty="0" err="1"/>
              <a:t>ut</a:t>
            </a:r>
            <a:r>
              <a:rPr lang="de-DE" dirty="0"/>
              <a:t> </a:t>
            </a:r>
            <a:r>
              <a:rPr lang="de-DE" dirty="0" err="1"/>
              <a:t>labore</a:t>
            </a:r>
            <a:r>
              <a:rPr lang="de-DE" dirty="0"/>
              <a:t>. </a:t>
            </a:r>
          </a:p>
        </p:txBody>
      </p:sp>
      <p:pic>
        <p:nvPicPr>
          <p:cNvPr id="43" name="Grafik 42">
            <a:extLst>
              <a:ext uri="{FF2B5EF4-FFF2-40B4-BE49-F238E27FC236}">
                <a16:creationId xmlns:a16="http://schemas.microsoft.com/office/drawing/2014/main" id="{FA78B4F8-7A33-AD9C-BD95-FE26865EECF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r="17412"/>
          <a:stretch>
            <a:fillRect/>
          </a:stretch>
        </p:blipFill>
        <p:spPr>
          <a:xfrm>
            <a:off x="4431954" y="1124481"/>
            <a:ext cx="7760047" cy="6642780"/>
          </a:xfrm>
          <a:custGeom>
            <a:avLst/>
            <a:gdLst>
              <a:gd name="connsiteX0" fmla="*/ 0 w 7760047"/>
              <a:gd name="connsiteY0" fmla="*/ 0 h 6642780"/>
              <a:gd name="connsiteX1" fmla="*/ 7760047 w 7760047"/>
              <a:gd name="connsiteY1" fmla="*/ 0 h 6642780"/>
              <a:gd name="connsiteX2" fmla="*/ 7760047 w 7760047"/>
              <a:gd name="connsiteY2" fmla="*/ 5733520 h 6642780"/>
              <a:gd name="connsiteX3" fmla="*/ 648046 w 7760047"/>
              <a:gd name="connsiteY3" fmla="*/ 5733520 h 6642780"/>
              <a:gd name="connsiteX4" fmla="*/ 648046 w 7760047"/>
              <a:gd name="connsiteY4" fmla="*/ 6642780 h 6642780"/>
              <a:gd name="connsiteX5" fmla="*/ 0 w 7760047"/>
              <a:gd name="connsiteY5" fmla="*/ 6642780 h 6642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60047" h="6642780">
                <a:moveTo>
                  <a:pt x="0" y="0"/>
                </a:moveTo>
                <a:lnTo>
                  <a:pt x="7760047" y="0"/>
                </a:lnTo>
                <a:lnTo>
                  <a:pt x="7760047" y="5733520"/>
                </a:lnTo>
                <a:lnTo>
                  <a:pt x="648046" y="5733520"/>
                </a:lnTo>
                <a:lnTo>
                  <a:pt x="648046" y="6642780"/>
                </a:lnTo>
                <a:lnTo>
                  <a:pt x="0" y="6642780"/>
                </a:lnTo>
                <a:close/>
              </a:path>
            </a:pathLst>
          </a:custGeom>
        </p:spPr>
      </p:pic>
      <p:sp>
        <p:nvSpPr>
          <p:cNvPr id="16" name="Textplatzhalter 15">
            <a:extLst>
              <a:ext uri="{FF2B5EF4-FFF2-40B4-BE49-F238E27FC236}">
                <a16:creationId xmlns:a16="http://schemas.microsoft.com/office/drawing/2014/main" id="{4FD0E45B-57BA-AEB3-D7CD-A12F119AEC53}"/>
              </a:ext>
            </a:extLst>
          </p:cNvPr>
          <p:cNvSpPr>
            <a:spLocks noGrp="1"/>
          </p:cNvSpPr>
          <p:nvPr>
            <p:ph type="body" sz="quarter" idx="10" hasCustomPrompt="1"/>
          </p:nvPr>
        </p:nvSpPr>
        <p:spPr>
          <a:xfrm>
            <a:off x="555421" y="1498497"/>
            <a:ext cx="5540579" cy="1538883"/>
          </a:xfrm>
          <a:prstGeom prst="rect">
            <a:avLst/>
          </a:prstGeom>
        </p:spPr>
        <p:txBody>
          <a:bodyPr lIns="0" tIns="0" rIns="0" bIns="0">
            <a:spAutoFit/>
          </a:bodyPr>
          <a:lstStyle>
            <a:lvl1pPr marL="0" indent="0">
              <a:lnSpc>
                <a:spcPct val="100000"/>
              </a:lnSpc>
              <a:buNone/>
              <a:defRPr sz="5000" b="1" cap="all" spc="100" baseline="0">
                <a:solidFill>
                  <a:schemeClr val="accent3">
                    <a:lumMod val="20000"/>
                    <a:lumOff val="80000"/>
                  </a:schemeClr>
                </a:solidFill>
                <a:latin typeface="+mj-lt"/>
              </a:defRPr>
            </a:lvl1pPr>
          </a:lstStyle>
          <a:p>
            <a:pPr lvl="0"/>
            <a:r>
              <a:rPr lang="de-DE" dirty="0"/>
              <a:t>Überschrift</a:t>
            </a:r>
            <a:br>
              <a:rPr lang="de-DE" dirty="0"/>
            </a:br>
            <a:endParaRPr lang="de-DE" dirty="0"/>
          </a:p>
        </p:txBody>
      </p:sp>
    </p:spTree>
    <p:extLst>
      <p:ext uri="{BB962C8B-B14F-4D97-AF65-F5344CB8AC3E}">
        <p14:creationId xmlns:p14="http://schemas.microsoft.com/office/powerpoint/2010/main" val="367296181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 Bild + IPad">
    <p:spTree>
      <p:nvGrpSpPr>
        <p:cNvPr id="1" name=""/>
        <p:cNvGrpSpPr/>
        <p:nvPr/>
      </p:nvGrpSpPr>
      <p:grpSpPr>
        <a:xfrm>
          <a:off x="0" y="0"/>
          <a:ext cx="0" cy="0"/>
          <a:chOff x="0" y="0"/>
          <a:chExt cx="0" cy="0"/>
        </a:xfrm>
      </p:grpSpPr>
      <p:pic>
        <p:nvPicPr>
          <p:cNvPr id="480" name="Grafik 479">
            <a:extLst>
              <a:ext uri="{FF2B5EF4-FFF2-40B4-BE49-F238E27FC236}">
                <a16:creationId xmlns:a16="http://schemas.microsoft.com/office/drawing/2014/main" id="{42C66D69-9B29-95A5-8E42-AB515818319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flipH="1">
            <a:off x="544964" y="1665287"/>
            <a:ext cx="9541308" cy="4643437"/>
          </a:xfrm>
          <a:prstGeom prst="rect">
            <a:avLst/>
          </a:prstGeom>
        </p:spPr>
      </p:pic>
      <p:pic>
        <p:nvPicPr>
          <p:cNvPr id="21" name="Picture 22" descr="Shape, square&#10;&#10;Description automatically generated">
            <a:extLst>
              <a:ext uri="{FF2B5EF4-FFF2-40B4-BE49-F238E27FC236}">
                <a16:creationId xmlns:a16="http://schemas.microsoft.com/office/drawing/2014/main" id="{42B316B4-6436-2F5F-EA45-36182DA4425B}"/>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rot="16200000">
            <a:off x="1578359" y="610519"/>
            <a:ext cx="4675968" cy="6742760"/>
          </a:xfrm>
          <a:prstGeom prst="rect">
            <a:avLst/>
          </a:prstGeom>
        </p:spPr>
      </p:pic>
      <p:sp>
        <p:nvSpPr>
          <p:cNvPr id="7" name="Inhaltsplatzhalter 5">
            <a:extLst>
              <a:ext uri="{FF2B5EF4-FFF2-40B4-BE49-F238E27FC236}">
                <a16:creationId xmlns:a16="http://schemas.microsoft.com/office/drawing/2014/main" id="{A45D911B-0D0C-1D88-EC4C-950F851452BC}"/>
              </a:ext>
            </a:extLst>
          </p:cNvPr>
          <p:cNvSpPr>
            <a:spLocks noGrp="1" noRot="1" noMove="1" noResize="1" noEditPoints="1" noAdjustHandles="1" noChangeArrowheads="1" noChangeShapeType="1"/>
          </p:cNvSpPr>
          <p:nvPr>
            <p:ph sz="quarter" idx="11" hasCustomPrompt="1"/>
          </p:nvPr>
        </p:nvSpPr>
        <p:spPr>
          <a:xfrm>
            <a:off x="726562" y="1863144"/>
            <a:ext cx="6368400" cy="4276800"/>
          </a:xfrm>
          <a:prstGeom prst="roundRect">
            <a:avLst>
              <a:gd name="adj" fmla="val 2541"/>
            </a:avLst>
          </a:prstGeom>
          <a:solidFill>
            <a:schemeClr val="bg1">
              <a:lumMod val="95000"/>
            </a:schemeClr>
          </a:solidFill>
        </p:spPr>
        <p:txBody>
          <a:bodyPr anchor="ctr"/>
          <a:lstStyle>
            <a:lvl1pPr marL="0" indent="0" algn="ctr">
              <a:buNone/>
              <a:defRPr sz="1200" spc="100" baseline="0">
                <a:solidFill>
                  <a:schemeClr val="tx1">
                    <a:lumMod val="75000"/>
                    <a:lumOff val="25000"/>
                  </a:schemeClr>
                </a:solidFill>
              </a:defRPr>
            </a:lvl1pPr>
          </a:lstStyle>
          <a:p>
            <a:pPr lvl="0"/>
            <a:r>
              <a:rPr lang="de-DE" dirty="0"/>
              <a:t>Inhalt hier einfügen</a:t>
            </a:r>
          </a:p>
        </p:txBody>
      </p:sp>
      <p:sp>
        <p:nvSpPr>
          <p:cNvPr id="3" name="Textplatzhalter 17">
            <a:extLst>
              <a:ext uri="{FF2B5EF4-FFF2-40B4-BE49-F238E27FC236}">
                <a16:creationId xmlns:a16="http://schemas.microsoft.com/office/drawing/2014/main" id="{0F915AFA-E262-4465-CEE2-87938C09D305}"/>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4" name="Textplatzhalter 19">
            <a:extLst>
              <a:ext uri="{FF2B5EF4-FFF2-40B4-BE49-F238E27FC236}">
                <a16:creationId xmlns:a16="http://schemas.microsoft.com/office/drawing/2014/main" id="{327B8722-9E6C-DF96-B2BB-1E858BBA8C93}"/>
              </a:ext>
            </a:extLst>
          </p:cNvPr>
          <p:cNvSpPr>
            <a:spLocks noGrp="1"/>
          </p:cNvSpPr>
          <p:nvPr>
            <p:ph type="body" sz="quarter" idx="12"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3"/>
                </a:solidFill>
                <a:latin typeface="+mn-lt"/>
              </a:defRPr>
            </a:lvl1pPr>
          </a:lstStyle>
          <a:p>
            <a:pPr lvl="0"/>
            <a:r>
              <a:rPr lang="de-DE" dirty="0"/>
              <a:t>Überschrift</a:t>
            </a:r>
          </a:p>
        </p:txBody>
      </p:sp>
      <p:sp>
        <p:nvSpPr>
          <p:cNvPr id="2" name="Foliennummernplatzhalter 5">
            <a:extLst>
              <a:ext uri="{FF2B5EF4-FFF2-40B4-BE49-F238E27FC236}">
                <a16:creationId xmlns:a16="http://schemas.microsoft.com/office/drawing/2014/main" id="{BBAB203F-BA24-0BD6-E70B-7FE111840479}"/>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90335429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 Grafik + Inhalt _02">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3"/>
                </a:solidFill>
                <a:latin typeface="+mn-lt"/>
              </a:defRPr>
            </a:lvl1pPr>
          </a:lstStyle>
          <a:p>
            <a:pPr lvl="0"/>
            <a:r>
              <a:rPr lang="de-DE" dirty="0"/>
              <a:t>Überschrift</a:t>
            </a:r>
          </a:p>
        </p:txBody>
      </p:sp>
      <p:pic>
        <p:nvPicPr>
          <p:cNvPr id="5" name="Grafik 4">
            <a:extLst>
              <a:ext uri="{FF2B5EF4-FFF2-40B4-BE49-F238E27FC236}">
                <a16:creationId xmlns:a16="http://schemas.microsoft.com/office/drawing/2014/main" id="{B7D81DBB-993D-F39F-6F01-1A501DDFC588}"/>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b="14001"/>
          <a:stretch>
            <a:fillRect/>
          </a:stretch>
        </p:blipFill>
        <p:spPr>
          <a:xfrm flipH="1">
            <a:off x="6919504" y="1133432"/>
            <a:ext cx="4267552" cy="5191243"/>
          </a:xfrm>
          <a:custGeom>
            <a:avLst/>
            <a:gdLst>
              <a:gd name="connsiteX0" fmla="*/ 4267552 w 4267552"/>
              <a:gd name="connsiteY0" fmla="*/ 0 h 5191243"/>
              <a:gd name="connsiteX1" fmla="*/ 0 w 4267552"/>
              <a:gd name="connsiteY1" fmla="*/ 0 h 5191243"/>
              <a:gd name="connsiteX2" fmla="*/ 0 w 4267552"/>
              <a:gd name="connsiteY2" fmla="*/ 5191243 h 5191243"/>
              <a:gd name="connsiteX3" fmla="*/ 4267552 w 4267552"/>
              <a:gd name="connsiteY3" fmla="*/ 5191243 h 5191243"/>
            </a:gdLst>
            <a:ahLst/>
            <a:cxnLst>
              <a:cxn ang="0">
                <a:pos x="connsiteX0" y="connsiteY0"/>
              </a:cxn>
              <a:cxn ang="0">
                <a:pos x="connsiteX1" y="connsiteY1"/>
              </a:cxn>
              <a:cxn ang="0">
                <a:pos x="connsiteX2" y="connsiteY2"/>
              </a:cxn>
              <a:cxn ang="0">
                <a:pos x="connsiteX3" y="connsiteY3"/>
              </a:cxn>
            </a:cxnLst>
            <a:rect l="l" t="t" r="r" b="b"/>
            <a:pathLst>
              <a:path w="4267552" h="5191243">
                <a:moveTo>
                  <a:pt x="4267552" y="0"/>
                </a:moveTo>
                <a:lnTo>
                  <a:pt x="0" y="0"/>
                </a:lnTo>
                <a:lnTo>
                  <a:pt x="0" y="5191243"/>
                </a:lnTo>
                <a:lnTo>
                  <a:pt x="4267552" y="5191243"/>
                </a:lnTo>
                <a:close/>
              </a:path>
            </a:pathLst>
          </a:custGeom>
        </p:spPr>
      </p:pic>
      <p:sp>
        <p:nvSpPr>
          <p:cNvPr id="6" name="Textplatzhalter 7">
            <a:extLst>
              <a:ext uri="{FF2B5EF4-FFF2-40B4-BE49-F238E27FC236}">
                <a16:creationId xmlns:a16="http://schemas.microsoft.com/office/drawing/2014/main" id="{ECB6E53B-D3F3-C63A-63C7-7F5987CB4E7E}"/>
              </a:ext>
            </a:extLst>
          </p:cNvPr>
          <p:cNvSpPr>
            <a:spLocks noGrp="1" noRot="1" noMove="1" noResize="1" noEditPoints="1" noAdjustHandles="1" noChangeArrowheads="1" noChangeShapeType="1"/>
          </p:cNvSpPr>
          <p:nvPr>
            <p:ph type="body" sz="quarter" idx="13" hasCustomPrompt="1"/>
          </p:nvPr>
        </p:nvSpPr>
        <p:spPr>
          <a:xfrm>
            <a:off x="560514" y="1671122"/>
            <a:ext cx="5535486" cy="4637603"/>
          </a:xfrm>
          <a:prstGeom prst="roundRect">
            <a:avLst>
              <a:gd name="adj" fmla="val 3275"/>
            </a:avLst>
          </a:prstGeom>
          <a:solidFill>
            <a:schemeClr val="bg1">
              <a:lumMod val="95000"/>
            </a:schemeClr>
          </a:solidFill>
        </p:spPr>
        <p:txBody>
          <a:bodyPr lIns="360000" tIns="360000" rIns="360000" bIns="360000"/>
          <a:lstStyle>
            <a:lvl1pPr marL="270000" indent="-270000">
              <a:lnSpc>
                <a:spcPct val="110000"/>
              </a:lnSpc>
              <a:spcBef>
                <a:spcPts val="1500"/>
              </a:spcBef>
              <a:buClr>
                <a:schemeClr val="accent3"/>
              </a:buClr>
              <a:defRPr sz="2000">
                <a:solidFill>
                  <a:schemeClr val="tx1">
                    <a:lumMod val="75000"/>
                    <a:lumOff val="25000"/>
                  </a:schemeClr>
                </a:solidFill>
              </a:defRPr>
            </a:lvl1pPr>
            <a:lvl2pPr marL="540000" indent="-270000">
              <a:lnSpc>
                <a:spcPct val="110000"/>
              </a:lnSpc>
              <a:spcBef>
                <a:spcPts val="1500"/>
              </a:spcBef>
              <a:buClr>
                <a:schemeClr val="accent3"/>
              </a:buClr>
              <a:defRPr sz="2000">
                <a:solidFill>
                  <a:schemeClr val="tx1">
                    <a:lumMod val="75000"/>
                    <a:lumOff val="25000"/>
                  </a:schemeClr>
                </a:solidFill>
              </a:defRPr>
            </a:lvl2pPr>
            <a:lvl3pPr marL="810000" indent="-270000">
              <a:lnSpc>
                <a:spcPct val="110000"/>
              </a:lnSpc>
              <a:spcBef>
                <a:spcPts val="1500"/>
              </a:spcBef>
              <a:buClr>
                <a:schemeClr val="accent3"/>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11" name="Textplatzhalter 10">
            <a:extLst>
              <a:ext uri="{FF2B5EF4-FFF2-40B4-BE49-F238E27FC236}">
                <a16:creationId xmlns:a16="http://schemas.microsoft.com/office/drawing/2014/main" id="{563D9863-5168-B2DF-D3AB-7F3407B3B843}"/>
              </a:ext>
            </a:extLst>
          </p:cNvPr>
          <p:cNvSpPr>
            <a:spLocks noGrp="1" noRot="1" noMove="1" noResize="1" noEditPoints="1" noAdjustHandles="1" noChangeArrowheads="1" noChangeShapeType="1"/>
          </p:cNvSpPr>
          <p:nvPr userDrawn="1">
            <p:ph type="body" sz="quarter" idx="14"/>
          </p:nvPr>
        </p:nvSpPr>
        <p:spPr>
          <a:xfrm>
            <a:off x="4748854" y="4415461"/>
            <a:ext cx="586093" cy="124041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3"/>
          </a:solidFill>
        </p:spPr>
        <p:txBody>
          <a:bodyPr wrap="square" lIns="0" tIns="0" rIns="0" bIns="0">
            <a:noAutofit/>
          </a:bodyPr>
          <a:lstStyle>
            <a:lvl1pPr marL="0" indent="0">
              <a:buNone/>
              <a:defRPr>
                <a:noFill/>
              </a:defRPr>
            </a:lvl1pPr>
          </a:lstStyle>
          <a:p>
            <a:pPr lvl="0"/>
            <a:endParaRPr lang="de-DE" dirty="0"/>
          </a:p>
        </p:txBody>
      </p:sp>
      <p:sp>
        <p:nvSpPr>
          <p:cNvPr id="12" name="Textplatzhalter 11">
            <a:extLst>
              <a:ext uri="{FF2B5EF4-FFF2-40B4-BE49-F238E27FC236}">
                <a16:creationId xmlns:a16="http://schemas.microsoft.com/office/drawing/2014/main" id="{971C1D98-F411-E624-9234-624B5953090A}"/>
              </a:ext>
            </a:extLst>
          </p:cNvPr>
          <p:cNvSpPr>
            <a:spLocks noGrp="1" noRot="1" noChangeAspect="1" noMove="1" noResize="1" noEditPoints="1" noAdjustHandles="1" noChangeArrowheads="1" noChangeShapeType="1"/>
          </p:cNvSpPr>
          <p:nvPr userDrawn="1">
            <p:ph type="body" sz="quarter" idx="15"/>
          </p:nvPr>
        </p:nvSpPr>
        <p:spPr>
          <a:xfrm>
            <a:off x="5353468" y="5141071"/>
            <a:ext cx="381024" cy="80640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3">
              <a:lumMod val="40000"/>
              <a:lumOff val="60000"/>
            </a:schemeClr>
          </a:solidFill>
        </p:spPr>
        <p:txBody>
          <a:bodyPr wrap="square" lIns="0" tIns="0" rIns="0" bIns="0">
            <a:noAutofit/>
          </a:bodyPr>
          <a:lstStyle>
            <a:lvl1pPr marL="0" indent="0">
              <a:buNone/>
              <a:defRPr>
                <a:noFill/>
              </a:defRPr>
            </a:lvl1pPr>
          </a:lstStyle>
          <a:p>
            <a:pPr lvl="0"/>
            <a:endParaRPr lang="de-DE" dirty="0"/>
          </a:p>
        </p:txBody>
      </p:sp>
      <p:sp>
        <p:nvSpPr>
          <p:cNvPr id="2" name="Foliennummernplatzhalter 5">
            <a:extLst>
              <a:ext uri="{FF2B5EF4-FFF2-40B4-BE49-F238E27FC236}">
                <a16:creationId xmlns:a16="http://schemas.microsoft.com/office/drawing/2014/main" id="{769167DD-E7BE-9F44-3FD3-1F8C3A7BA001}"/>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98283400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el + Grafik + Inhalt _02">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3"/>
                </a:solidFill>
                <a:latin typeface="+mn-lt"/>
              </a:defRPr>
            </a:lvl1pPr>
          </a:lstStyle>
          <a:p>
            <a:pPr lvl="0"/>
            <a:r>
              <a:rPr lang="de-DE" dirty="0"/>
              <a:t>Überschrift</a:t>
            </a:r>
          </a:p>
        </p:txBody>
      </p:sp>
      <p:sp>
        <p:nvSpPr>
          <p:cNvPr id="6" name="Textplatzhalter 7">
            <a:extLst>
              <a:ext uri="{FF2B5EF4-FFF2-40B4-BE49-F238E27FC236}">
                <a16:creationId xmlns:a16="http://schemas.microsoft.com/office/drawing/2014/main" id="{ECB6E53B-D3F3-C63A-63C7-7F5987CB4E7E}"/>
              </a:ext>
            </a:extLst>
          </p:cNvPr>
          <p:cNvSpPr>
            <a:spLocks noGrp="1" noRot="1" noMove="1" noResize="1" noEditPoints="1" noAdjustHandles="1" noChangeArrowheads="1" noChangeShapeType="1"/>
          </p:cNvSpPr>
          <p:nvPr>
            <p:ph type="body" sz="quarter" idx="13" hasCustomPrompt="1"/>
          </p:nvPr>
        </p:nvSpPr>
        <p:spPr>
          <a:xfrm>
            <a:off x="560514" y="1671122"/>
            <a:ext cx="5535486" cy="4637603"/>
          </a:xfrm>
          <a:prstGeom prst="roundRect">
            <a:avLst>
              <a:gd name="adj" fmla="val 3275"/>
            </a:avLst>
          </a:prstGeom>
          <a:solidFill>
            <a:schemeClr val="bg1">
              <a:lumMod val="95000"/>
            </a:schemeClr>
          </a:solidFill>
        </p:spPr>
        <p:txBody>
          <a:bodyPr lIns="360000" tIns="360000" rIns="360000" bIns="360000"/>
          <a:lstStyle>
            <a:lvl1pPr marL="270000" indent="-270000">
              <a:lnSpc>
                <a:spcPct val="110000"/>
              </a:lnSpc>
              <a:spcBef>
                <a:spcPts val="1500"/>
              </a:spcBef>
              <a:buClr>
                <a:schemeClr val="accent3"/>
              </a:buClr>
              <a:defRPr sz="2000">
                <a:solidFill>
                  <a:schemeClr val="tx1">
                    <a:lumMod val="75000"/>
                    <a:lumOff val="25000"/>
                  </a:schemeClr>
                </a:solidFill>
              </a:defRPr>
            </a:lvl1pPr>
            <a:lvl2pPr marL="540000" indent="-270000">
              <a:lnSpc>
                <a:spcPct val="110000"/>
              </a:lnSpc>
              <a:spcBef>
                <a:spcPts val="1500"/>
              </a:spcBef>
              <a:buClr>
                <a:schemeClr val="accent3"/>
              </a:buClr>
              <a:defRPr sz="2000">
                <a:solidFill>
                  <a:schemeClr val="tx1">
                    <a:lumMod val="75000"/>
                    <a:lumOff val="25000"/>
                  </a:schemeClr>
                </a:solidFill>
              </a:defRPr>
            </a:lvl2pPr>
            <a:lvl3pPr marL="810000" indent="-270000">
              <a:lnSpc>
                <a:spcPct val="110000"/>
              </a:lnSpc>
              <a:spcBef>
                <a:spcPts val="1500"/>
              </a:spcBef>
              <a:buClr>
                <a:schemeClr val="accent3"/>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11" name="Textplatzhalter 10">
            <a:extLst>
              <a:ext uri="{FF2B5EF4-FFF2-40B4-BE49-F238E27FC236}">
                <a16:creationId xmlns:a16="http://schemas.microsoft.com/office/drawing/2014/main" id="{563D9863-5168-B2DF-D3AB-7F3407B3B843}"/>
              </a:ext>
            </a:extLst>
          </p:cNvPr>
          <p:cNvSpPr>
            <a:spLocks noGrp="1" noRot="1" noMove="1" noResize="1" noEditPoints="1" noAdjustHandles="1" noChangeArrowheads="1" noChangeShapeType="1"/>
          </p:cNvSpPr>
          <p:nvPr userDrawn="1">
            <p:ph type="body" sz="quarter" idx="14"/>
          </p:nvPr>
        </p:nvSpPr>
        <p:spPr>
          <a:xfrm>
            <a:off x="4748854" y="4415461"/>
            <a:ext cx="586093" cy="124041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3"/>
          </a:solidFill>
        </p:spPr>
        <p:txBody>
          <a:bodyPr wrap="square" lIns="0" tIns="0" rIns="0" bIns="0">
            <a:noAutofit/>
          </a:bodyPr>
          <a:lstStyle>
            <a:lvl1pPr marL="0" indent="0">
              <a:buNone/>
              <a:defRPr>
                <a:noFill/>
              </a:defRPr>
            </a:lvl1pPr>
          </a:lstStyle>
          <a:p>
            <a:pPr lvl="0"/>
            <a:endParaRPr lang="de-DE" dirty="0"/>
          </a:p>
        </p:txBody>
      </p:sp>
      <p:sp>
        <p:nvSpPr>
          <p:cNvPr id="12" name="Textplatzhalter 11">
            <a:extLst>
              <a:ext uri="{FF2B5EF4-FFF2-40B4-BE49-F238E27FC236}">
                <a16:creationId xmlns:a16="http://schemas.microsoft.com/office/drawing/2014/main" id="{971C1D98-F411-E624-9234-624B5953090A}"/>
              </a:ext>
            </a:extLst>
          </p:cNvPr>
          <p:cNvSpPr>
            <a:spLocks noGrp="1" noRot="1" noChangeAspect="1" noMove="1" noResize="1" noEditPoints="1" noAdjustHandles="1" noChangeArrowheads="1" noChangeShapeType="1"/>
          </p:cNvSpPr>
          <p:nvPr userDrawn="1">
            <p:ph type="body" sz="quarter" idx="15"/>
          </p:nvPr>
        </p:nvSpPr>
        <p:spPr>
          <a:xfrm>
            <a:off x="5353468" y="5141071"/>
            <a:ext cx="381024" cy="80640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3">
              <a:lumMod val="40000"/>
              <a:lumOff val="60000"/>
            </a:schemeClr>
          </a:solidFill>
        </p:spPr>
        <p:txBody>
          <a:bodyPr wrap="square" lIns="0" tIns="0" rIns="0" bIns="0">
            <a:noAutofit/>
          </a:bodyPr>
          <a:lstStyle>
            <a:lvl1pPr marL="0" indent="0">
              <a:buNone/>
              <a:defRPr>
                <a:noFill/>
              </a:defRPr>
            </a:lvl1pPr>
          </a:lstStyle>
          <a:p>
            <a:pPr lvl="0"/>
            <a:endParaRPr lang="de-DE" dirty="0"/>
          </a:p>
        </p:txBody>
      </p:sp>
      <p:sp>
        <p:nvSpPr>
          <p:cNvPr id="2" name="Foliennummernplatzhalter 5">
            <a:extLst>
              <a:ext uri="{FF2B5EF4-FFF2-40B4-BE49-F238E27FC236}">
                <a16:creationId xmlns:a16="http://schemas.microsoft.com/office/drawing/2014/main" id="{769167DD-E7BE-9F44-3FD3-1F8C3A7BA001}"/>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898914480"/>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 Glühbirne + Inhalt">
    <p:spTree>
      <p:nvGrpSpPr>
        <p:cNvPr id="1" name=""/>
        <p:cNvGrpSpPr/>
        <p:nvPr/>
      </p:nvGrpSpPr>
      <p:grpSpPr>
        <a:xfrm>
          <a:off x="0" y="0"/>
          <a:ext cx="0" cy="0"/>
          <a:chOff x="0" y="0"/>
          <a:chExt cx="0" cy="0"/>
        </a:xfrm>
      </p:grpSpPr>
      <p:sp>
        <p:nvSpPr>
          <p:cNvPr id="78" name="Textplatzhalter 71">
            <a:extLst>
              <a:ext uri="{FF2B5EF4-FFF2-40B4-BE49-F238E27FC236}">
                <a16:creationId xmlns:a16="http://schemas.microsoft.com/office/drawing/2014/main" id="{FFAF0D29-FA9F-31C3-259E-1BAEEB129F52}"/>
              </a:ext>
            </a:extLst>
          </p:cNvPr>
          <p:cNvSpPr>
            <a:spLocks noGrp="1"/>
          </p:cNvSpPr>
          <p:nvPr>
            <p:ph type="body" sz="quarter" idx="18" hasCustomPrompt="1"/>
          </p:nvPr>
        </p:nvSpPr>
        <p:spPr>
          <a:xfrm>
            <a:off x="546629" y="2906464"/>
            <a:ext cx="3378323" cy="615553"/>
          </a:xfrm>
          <a:prstGeom prst="rect">
            <a:avLst/>
          </a:prstGeom>
        </p:spPr>
        <p:txBody>
          <a:bodyPr wrap="square" lIns="0" tIns="0" rIns="0" bIns="0">
            <a:spAutoFit/>
          </a:bodyPr>
          <a:lstStyle>
            <a:lvl1pPr marL="0" indent="0" algn="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3"/>
                </a:solidFill>
                <a:latin typeface="+mn-lt"/>
              </a:defRPr>
            </a:lvl1pPr>
          </a:lstStyle>
          <a:p>
            <a:pPr lvl="0"/>
            <a:r>
              <a:rPr lang="de-DE" dirty="0"/>
              <a:t>Überschrift</a:t>
            </a:r>
          </a:p>
        </p:txBody>
      </p:sp>
      <p:sp>
        <p:nvSpPr>
          <p:cNvPr id="29" name="Freihandform: Form 28">
            <a:extLst>
              <a:ext uri="{FF2B5EF4-FFF2-40B4-BE49-F238E27FC236}">
                <a16:creationId xmlns:a16="http://schemas.microsoft.com/office/drawing/2014/main" id="{8F0CBA1A-E681-E0AC-F6A3-72241BD0CEFC}"/>
              </a:ext>
            </a:extLst>
          </p:cNvPr>
          <p:cNvSpPr/>
          <p:nvPr/>
        </p:nvSpPr>
        <p:spPr>
          <a:xfrm>
            <a:off x="6127731" y="5994989"/>
            <a:ext cx="585985" cy="863011"/>
          </a:xfrm>
          <a:custGeom>
            <a:avLst/>
            <a:gdLst>
              <a:gd name="connsiteX0" fmla="*/ 0 w 585985"/>
              <a:gd name="connsiteY0" fmla="*/ 0 h 863011"/>
              <a:gd name="connsiteX1" fmla="*/ 430018 w 585985"/>
              <a:gd name="connsiteY1" fmla="*/ 0 h 863011"/>
              <a:gd name="connsiteX2" fmla="*/ 436292 w 585985"/>
              <a:gd name="connsiteY2" fmla="*/ 0 h 863011"/>
              <a:gd name="connsiteX3" fmla="*/ 445615 w 585985"/>
              <a:gd name="connsiteY3" fmla="*/ 0 h 863011"/>
              <a:gd name="connsiteX4" fmla="*/ 451889 w 585985"/>
              <a:gd name="connsiteY4" fmla="*/ 0 h 863011"/>
              <a:gd name="connsiteX5" fmla="*/ 461211 w 585985"/>
              <a:gd name="connsiteY5" fmla="*/ 3168 h 863011"/>
              <a:gd name="connsiteX6" fmla="*/ 467486 w 585985"/>
              <a:gd name="connsiteY6" fmla="*/ 3168 h 863011"/>
              <a:gd name="connsiteX7" fmla="*/ 476808 w 585985"/>
              <a:gd name="connsiteY7" fmla="*/ 6275 h 863011"/>
              <a:gd name="connsiteX8" fmla="*/ 483083 w 585985"/>
              <a:gd name="connsiteY8" fmla="*/ 9382 h 863011"/>
              <a:gd name="connsiteX9" fmla="*/ 489297 w 585985"/>
              <a:gd name="connsiteY9" fmla="*/ 9382 h 863011"/>
              <a:gd name="connsiteX10" fmla="*/ 498679 w 585985"/>
              <a:gd name="connsiteY10" fmla="*/ 12490 h 863011"/>
              <a:gd name="connsiteX11" fmla="*/ 504894 w 585985"/>
              <a:gd name="connsiteY11" fmla="*/ 15597 h 863011"/>
              <a:gd name="connsiteX12" fmla="*/ 511109 w 585985"/>
              <a:gd name="connsiteY12" fmla="*/ 21871 h 863011"/>
              <a:gd name="connsiteX13" fmla="*/ 517384 w 585985"/>
              <a:gd name="connsiteY13" fmla="*/ 24979 h 863011"/>
              <a:gd name="connsiteX14" fmla="*/ 523598 w 585985"/>
              <a:gd name="connsiteY14" fmla="*/ 28087 h 863011"/>
              <a:gd name="connsiteX15" fmla="*/ 529873 w 585985"/>
              <a:gd name="connsiteY15" fmla="*/ 31194 h 863011"/>
              <a:gd name="connsiteX16" fmla="*/ 536087 w 585985"/>
              <a:gd name="connsiteY16" fmla="*/ 37468 h 863011"/>
              <a:gd name="connsiteX17" fmla="*/ 539195 w 585985"/>
              <a:gd name="connsiteY17" fmla="*/ 40576 h 863011"/>
              <a:gd name="connsiteX18" fmla="*/ 545469 w 585985"/>
              <a:gd name="connsiteY18" fmla="*/ 46790 h 863011"/>
              <a:gd name="connsiteX19" fmla="*/ 551684 w 585985"/>
              <a:gd name="connsiteY19" fmla="*/ 53065 h 863011"/>
              <a:gd name="connsiteX20" fmla="*/ 554792 w 585985"/>
              <a:gd name="connsiteY20" fmla="*/ 56173 h 863011"/>
              <a:gd name="connsiteX21" fmla="*/ 561066 w 585985"/>
              <a:gd name="connsiteY21" fmla="*/ 62387 h 863011"/>
              <a:gd name="connsiteX22" fmla="*/ 564174 w 585985"/>
              <a:gd name="connsiteY22" fmla="*/ 68662 h 863011"/>
              <a:gd name="connsiteX23" fmla="*/ 567281 w 585985"/>
              <a:gd name="connsiteY23" fmla="*/ 74877 h 863011"/>
              <a:gd name="connsiteX24" fmla="*/ 570388 w 585985"/>
              <a:gd name="connsiteY24" fmla="*/ 81092 h 863011"/>
              <a:gd name="connsiteX25" fmla="*/ 573556 w 585985"/>
              <a:gd name="connsiteY25" fmla="*/ 87366 h 863011"/>
              <a:gd name="connsiteX26" fmla="*/ 576663 w 585985"/>
              <a:gd name="connsiteY26" fmla="*/ 93582 h 863011"/>
              <a:gd name="connsiteX27" fmla="*/ 579771 w 585985"/>
              <a:gd name="connsiteY27" fmla="*/ 99796 h 863011"/>
              <a:gd name="connsiteX28" fmla="*/ 582877 w 585985"/>
              <a:gd name="connsiteY28" fmla="*/ 109178 h 863011"/>
              <a:gd name="connsiteX29" fmla="*/ 582877 w 585985"/>
              <a:gd name="connsiteY29" fmla="*/ 115393 h 863011"/>
              <a:gd name="connsiteX30" fmla="*/ 585985 w 585985"/>
              <a:gd name="connsiteY30" fmla="*/ 121667 h 863011"/>
              <a:gd name="connsiteX31" fmla="*/ 585985 w 585985"/>
              <a:gd name="connsiteY31" fmla="*/ 127882 h 863011"/>
              <a:gd name="connsiteX32" fmla="*/ 585985 w 585985"/>
              <a:gd name="connsiteY32" fmla="*/ 137264 h 863011"/>
              <a:gd name="connsiteX33" fmla="*/ 585985 w 585985"/>
              <a:gd name="connsiteY33" fmla="*/ 143479 h 863011"/>
              <a:gd name="connsiteX34" fmla="*/ 585985 w 585985"/>
              <a:gd name="connsiteY34" fmla="*/ 863011 h 863011"/>
              <a:gd name="connsiteX35" fmla="*/ 4157 w 585985"/>
              <a:gd name="connsiteY35" fmla="*/ 863011 h 863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85985" h="863011">
                <a:moveTo>
                  <a:pt x="0" y="0"/>
                </a:moveTo>
                <a:lnTo>
                  <a:pt x="430018" y="0"/>
                </a:lnTo>
                <a:lnTo>
                  <a:pt x="436292" y="0"/>
                </a:lnTo>
                <a:lnTo>
                  <a:pt x="445615" y="0"/>
                </a:lnTo>
                <a:lnTo>
                  <a:pt x="451889" y="0"/>
                </a:lnTo>
                <a:lnTo>
                  <a:pt x="461211" y="3168"/>
                </a:lnTo>
                <a:lnTo>
                  <a:pt x="467486" y="3168"/>
                </a:lnTo>
                <a:lnTo>
                  <a:pt x="476808" y="6275"/>
                </a:lnTo>
                <a:lnTo>
                  <a:pt x="483083" y="9382"/>
                </a:lnTo>
                <a:lnTo>
                  <a:pt x="489297" y="9382"/>
                </a:lnTo>
                <a:lnTo>
                  <a:pt x="498679" y="12490"/>
                </a:lnTo>
                <a:lnTo>
                  <a:pt x="504894" y="15597"/>
                </a:lnTo>
                <a:lnTo>
                  <a:pt x="511109" y="21871"/>
                </a:lnTo>
                <a:lnTo>
                  <a:pt x="517384" y="24979"/>
                </a:lnTo>
                <a:lnTo>
                  <a:pt x="523598" y="28087"/>
                </a:lnTo>
                <a:lnTo>
                  <a:pt x="529873" y="31194"/>
                </a:lnTo>
                <a:lnTo>
                  <a:pt x="536087" y="37468"/>
                </a:lnTo>
                <a:lnTo>
                  <a:pt x="539195" y="40576"/>
                </a:lnTo>
                <a:lnTo>
                  <a:pt x="545469" y="46790"/>
                </a:lnTo>
                <a:lnTo>
                  <a:pt x="551684" y="53065"/>
                </a:lnTo>
                <a:lnTo>
                  <a:pt x="554792" y="56173"/>
                </a:lnTo>
                <a:lnTo>
                  <a:pt x="561066" y="62387"/>
                </a:lnTo>
                <a:lnTo>
                  <a:pt x="564174" y="68662"/>
                </a:lnTo>
                <a:lnTo>
                  <a:pt x="567281" y="74877"/>
                </a:lnTo>
                <a:lnTo>
                  <a:pt x="570388" y="81092"/>
                </a:lnTo>
                <a:lnTo>
                  <a:pt x="573556" y="87366"/>
                </a:lnTo>
                <a:lnTo>
                  <a:pt x="576663" y="93582"/>
                </a:lnTo>
                <a:lnTo>
                  <a:pt x="579771" y="99796"/>
                </a:lnTo>
                <a:lnTo>
                  <a:pt x="582877" y="109178"/>
                </a:lnTo>
                <a:lnTo>
                  <a:pt x="582877" y="115393"/>
                </a:lnTo>
                <a:lnTo>
                  <a:pt x="585985" y="121667"/>
                </a:lnTo>
                <a:lnTo>
                  <a:pt x="585985" y="127882"/>
                </a:lnTo>
                <a:lnTo>
                  <a:pt x="585985" y="137264"/>
                </a:lnTo>
                <a:lnTo>
                  <a:pt x="585985" y="143479"/>
                </a:lnTo>
                <a:lnTo>
                  <a:pt x="585985" y="863011"/>
                </a:lnTo>
                <a:lnTo>
                  <a:pt x="4157" y="863011"/>
                </a:lnTo>
                <a:close/>
              </a:path>
            </a:pathLst>
          </a:custGeom>
          <a:solidFill>
            <a:schemeClr val="bg1">
              <a:lumMod val="85000"/>
            </a:schemeClr>
          </a:solidFill>
          <a:ln w="0" cap="flat">
            <a:noFill/>
            <a:prstDash val="solid"/>
            <a:miter/>
          </a:ln>
        </p:spPr>
        <p:txBody>
          <a:bodyPr wrap="square" rtlCol="0" anchor="ctr">
            <a:noAutofit/>
          </a:bodyPr>
          <a:lstStyle/>
          <a:p>
            <a:endParaRPr lang="de-DE"/>
          </a:p>
        </p:txBody>
      </p:sp>
      <p:sp>
        <p:nvSpPr>
          <p:cNvPr id="37" name="Freihandform: Form 36">
            <a:extLst>
              <a:ext uri="{FF2B5EF4-FFF2-40B4-BE49-F238E27FC236}">
                <a16:creationId xmlns:a16="http://schemas.microsoft.com/office/drawing/2014/main" id="{F6078C46-F036-F2BE-4342-BB31F56B002B}"/>
              </a:ext>
            </a:extLst>
          </p:cNvPr>
          <p:cNvSpPr/>
          <p:nvPr/>
        </p:nvSpPr>
        <p:spPr>
          <a:xfrm>
            <a:off x="5478283" y="5994989"/>
            <a:ext cx="654766" cy="863011"/>
          </a:xfrm>
          <a:custGeom>
            <a:avLst/>
            <a:gdLst>
              <a:gd name="connsiteX0" fmla="*/ 134156 w 654766"/>
              <a:gd name="connsiteY0" fmla="*/ 0 h 863011"/>
              <a:gd name="connsiteX1" fmla="*/ 140431 w 654766"/>
              <a:gd name="connsiteY1" fmla="*/ 0 h 863011"/>
              <a:gd name="connsiteX2" fmla="*/ 149753 w 654766"/>
              <a:gd name="connsiteY2" fmla="*/ 0 h 863011"/>
              <a:gd name="connsiteX3" fmla="*/ 156029 w 654766"/>
              <a:gd name="connsiteY3" fmla="*/ 0 h 863011"/>
              <a:gd name="connsiteX4" fmla="*/ 649449 w 654766"/>
              <a:gd name="connsiteY4" fmla="*/ 0 h 863011"/>
              <a:gd name="connsiteX5" fmla="*/ 654766 w 654766"/>
              <a:gd name="connsiteY5" fmla="*/ 863011 h 863011"/>
              <a:gd name="connsiteX6" fmla="*/ 0 w 654766"/>
              <a:gd name="connsiteY6" fmla="*/ 863011 h 863011"/>
              <a:gd name="connsiteX7" fmla="*/ 0 w 654766"/>
              <a:gd name="connsiteY7" fmla="*/ 143479 h 863011"/>
              <a:gd name="connsiteX8" fmla="*/ 0 w 654766"/>
              <a:gd name="connsiteY8" fmla="*/ 137264 h 863011"/>
              <a:gd name="connsiteX9" fmla="*/ 0 w 654766"/>
              <a:gd name="connsiteY9" fmla="*/ 127882 h 863011"/>
              <a:gd name="connsiteX10" fmla="*/ 0 w 654766"/>
              <a:gd name="connsiteY10" fmla="*/ 121667 h 863011"/>
              <a:gd name="connsiteX11" fmla="*/ 3168 w 654766"/>
              <a:gd name="connsiteY11" fmla="*/ 115393 h 863011"/>
              <a:gd name="connsiteX12" fmla="*/ 3168 w 654766"/>
              <a:gd name="connsiteY12" fmla="*/ 109178 h 863011"/>
              <a:gd name="connsiteX13" fmla="*/ 6275 w 654766"/>
              <a:gd name="connsiteY13" fmla="*/ 99796 h 863011"/>
              <a:gd name="connsiteX14" fmla="*/ 9382 w 654766"/>
              <a:gd name="connsiteY14" fmla="*/ 93582 h 863011"/>
              <a:gd name="connsiteX15" fmla="*/ 12489 w 654766"/>
              <a:gd name="connsiteY15" fmla="*/ 87366 h 863011"/>
              <a:gd name="connsiteX16" fmla="*/ 15597 w 654766"/>
              <a:gd name="connsiteY16" fmla="*/ 81092 h 863011"/>
              <a:gd name="connsiteX17" fmla="*/ 18765 w 654766"/>
              <a:gd name="connsiteY17" fmla="*/ 74877 h 863011"/>
              <a:gd name="connsiteX18" fmla="*/ 21871 w 654766"/>
              <a:gd name="connsiteY18" fmla="*/ 68662 h 863011"/>
              <a:gd name="connsiteX19" fmla="*/ 28086 w 654766"/>
              <a:gd name="connsiteY19" fmla="*/ 62387 h 863011"/>
              <a:gd name="connsiteX20" fmla="*/ 31194 w 654766"/>
              <a:gd name="connsiteY20" fmla="*/ 56173 h 863011"/>
              <a:gd name="connsiteX21" fmla="*/ 34361 w 654766"/>
              <a:gd name="connsiteY21" fmla="*/ 53065 h 863011"/>
              <a:gd name="connsiteX22" fmla="*/ 40576 w 654766"/>
              <a:gd name="connsiteY22" fmla="*/ 46790 h 863011"/>
              <a:gd name="connsiteX23" fmla="*/ 46790 w 654766"/>
              <a:gd name="connsiteY23" fmla="*/ 40576 h 863011"/>
              <a:gd name="connsiteX24" fmla="*/ 49958 w 654766"/>
              <a:gd name="connsiteY24" fmla="*/ 37468 h 863011"/>
              <a:gd name="connsiteX25" fmla="*/ 56173 w 654766"/>
              <a:gd name="connsiteY25" fmla="*/ 31194 h 863011"/>
              <a:gd name="connsiteX26" fmla="*/ 62387 w 654766"/>
              <a:gd name="connsiteY26" fmla="*/ 28087 h 863011"/>
              <a:gd name="connsiteX27" fmla="*/ 68662 w 654766"/>
              <a:gd name="connsiteY27" fmla="*/ 24979 h 863011"/>
              <a:gd name="connsiteX28" fmla="*/ 74877 w 654766"/>
              <a:gd name="connsiteY28" fmla="*/ 21871 h 863011"/>
              <a:gd name="connsiteX29" fmla="*/ 81152 w 654766"/>
              <a:gd name="connsiteY29" fmla="*/ 15597 h 863011"/>
              <a:gd name="connsiteX30" fmla="*/ 90474 w 654766"/>
              <a:gd name="connsiteY30" fmla="*/ 12490 h 863011"/>
              <a:gd name="connsiteX31" fmla="*/ 96748 w 654766"/>
              <a:gd name="connsiteY31" fmla="*/ 9382 h 863011"/>
              <a:gd name="connsiteX32" fmla="*/ 102963 w 654766"/>
              <a:gd name="connsiteY32" fmla="*/ 9382 h 863011"/>
              <a:gd name="connsiteX33" fmla="*/ 109237 w 654766"/>
              <a:gd name="connsiteY33" fmla="*/ 6275 h 863011"/>
              <a:gd name="connsiteX34" fmla="*/ 118560 w 654766"/>
              <a:gd name="connsiteY34" fmla="*/ 3168 h 863011"/>
              <a:gd name="connsiteX35" fmla="*/ 124834 w 654766"/>
              <a:gd name="connsiteY35" fmla="*/ 3168 h 863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54766" h="863011">
                <a:moveTo>
                  <a:pt x="134156" y="0"/>
                </a:moveTo>
                <a:lnTo>
                  <a:pt x="140431" y="0"/>
                </a:lnTo>
                <a:lnTo>
                  <a:pt x="149753" y="0"/>
                </a:lnTo>
                <a:lnTo>
                  <a:pt x="156029" y="0"/>
                </a:lnTo>
                <a:lnTo>
                  <a:pt x="649449" y="0"/>
                </a:lnTo>
                <a:lnTo>
                  <a:pt x="654766" y="863011"/>
                </a:lnTo>
                <a:lnTo>
                  <a:pt x="0" y="863011"/>
                </a:lnTo>
                <a:lnTo>
                  <a:pt x="0" y="143479"/>
                </a:lnTo>
                <a:lnTo>
                  <a:pt x="0" y="137264"/>
                </a:lnTo>
                <a:lnTo>
                  <a:pt x="0" y="127882"/>
                </a:lnTo>
                <a:lnTo>
                  <a:pt x="0" y="121667"/>
                </a:lnTo>
                <a:lnTo>
                  <a:pt x="3168" y="115393"/>
                </a:lnTo>
                <a:lnTo>
                  <a:pt x="3168" y="109178"/>
                </a:lnTo>
                <a:lnTo>
                  <a:pt x="6275" y="99796"/>
                </a:lnTo>
                <a:lnTo>
                  <a:pt x="9382" y="93582"/>
                </a:lnTo>
                <a:lnTo>
                  <a:pt x="12489" y="87366"/>
                </a:lnTo>
                <a:lnTo>
                  <a:pt x="15597" y="81092"/>
                </a:lnTo>
                <a:lnTo>
                  <a:pt x="18765" y="74877"/>
                </a:lnTo>
                <a:lnTo>
                  <a:pt x="21871" y="68662"/>
                </a:lnTo>
                <a:lnTo>
                  <a:pt x="28086" y="62387"/>
                </a:lnTo>
                <a:lnTo>
                  <a:pt x="31194" y="56173"/>
                </a:lnTo>
                <a:lnTo>
                  <a:pt x="34361" y="53065"/>
                </a:lnTo>
                <a:lnTo>
                  <a:pt x="40576" y="46790"/>
                </a:lnTo>
                <a:lnTo>
                  <a:pt x="46790" y="40576"/>
                </a:lnTo>
                <a:lnTo>
                  <a:pt x="49958" y="37468"/>
                </a:lnTo>
                <a:lnTo>
                  <a:pt x="56173" y="31194"/>
                </a:lnTo>
                <a:lnTo>
                  <a:pt x="62387" y="28087"/>
                </a:lnTo>
                <a:lnTo>
                  <a:pt x="68662" y="24979"/>
                </a:lnTo>
                <a:lnTo>
                  <a:pt x="74877" y="21871"/>
                </a:lnTo>
                <a:lnTo>
                  <a:pt x="81152" y="15597"/>
                </a:lnTo>
                <a:lnTo>
                  <a:pt x="90474" y="12490"/>
                </a:lnTo>
                <a:lnTo>
                  <a:pt x="96748" y="9382"/>
                </a:lnTo>
                <a:lnTo>
                  <a:pt x="102963" y="9382"/>
                </a:lnTo>
                <a:lnTo>
                  <a:pt x="109237" y="6275"/>
                </a:lnTo>
                <a:lnTo>
                  <a:pt x="118560" y="3168"/>
                </a:lnTo>
                <a:lnTo>
                  <a:pt x="124834" y="3168"/>
                </a:lnTo>
                <a:close/>
              </a:path>
            </a:pathLst>
          </a:custGeom>
          <a:solidFill>
            <a:schemeClr val="bg2">
              <a:lumMod val="90000"/>
            </a:schemeClr>
          </a:solidFill>
          <a:ln w="0" cap="flat">
            <a:noFill/>
            <a:prstDash val="solid"/>
            <a:miter/>
          </a:ln>
        </p:spPr>
        <p:txBody>
          <a:bodyPr wrap="square" rtlCol="0" anchor="ctr">
            <a:noAutofit/>
          </a:bodyPr>
          <a:lstStyle/>
          <a:p>
            <a:endParaRPr lang="de-DE"/>
          </a:p>
        </p:txBody>
      </p:sp>
      <p:sp>
        <p:nvSpPr>
          <p:cNvPr id="5" name="Freihandform: Form 4">
            <a:extLst>
              <a:ext uri="{FF2B5EF4-FFF2-40B4-BE49-F238E27FC236}">
                <a16:creationId xmlns:a16="http://schemas.microsoft.com/office/drawing/2014/main" id="{982C5BAA-E187-899A-2BFB-3D8443ECCBE5}"/>
              </a:ext>
            </a:extLst>
          </p:cNvPr>
          <p:cNvSpPr/>
          <p:nvPr/>
        </p:nvSpPr>
        <p:spPr>
          <a:xfrm>
            <a:off x="4628995" y="2420077"/>
            <a:ext cx="2934010" cy="3581551"/>
          </a:xfrm>
          <a:custGeom>
            <a:avLst/>
            <a:gdLst>
              <a:gd name="connsiteX0" fmla="*/ 1145091 w 2743499"/>
              <a:gd name="connsiteY0" fmla="*/ 13427 h 3348995"/>
              <a:gd name="connsiteX1" fmla="*/ 16698 w 2743499"/>
              <a:gd name="connsiteY1" fmla="*/ 1466806 h 3348995"/>
              <a:gd name="connsiteX2" fmla="*/ 589779 w 2743499"/>
              <a:gd name="connsiteY2" fmla="*/ 2506578 h 3348995"/>
              <a:gd name="connsiteX3" fmla="*/ 743387 w 2743499"/>
              <a:gd name="connsiteY3" fmla="*/ 2949688 h 3348995"/>
              <a:gd name="connsiteX4" fmla="*/ 820219 w 2743499"/>
              <a:gd name="connsiteY4" fmla="*/ 3286463 h 3348995"/>
              <a:gd name="connsiteX5" fmla="*/ 1408946 w 2743499"/>
              <a:gd name="connsiteY5" fmla="*/ 3345582 h 3348995"/>
              <a:gd name="connsiteX6" fmla="*/ 1978171 w 2743499"/>
              <a:gd name="connsiteY6" fmla="*/ 3221477 h 3348995"/>
              <a:gd name="connsiteX7" fmla="*/ 2007730 w 2743499"/>
              <a:gd name="connsiteY7" fmla="*/ 2896548 h 3348995"/>
              <a:gd name="connsiteX8" fmla="*/ 2716650 w 2743499"/>
              <a:gd name="connsiteY8" fmla="*/ 1514078 h 3348995"/>
              <a:gd name="connsiteX9" fmla="*/ 1145091 w 2743499"/>
              <a:gd name="connsiteY9" fmla="*/ 13427 h 334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3499" h="3348995">
                <a:moveTo>
                  <a:pt x="1145091" y="13427"/>
                </a:moveTo>
                <a:cubicBezTo>
                  <a:pt x="453326" y="96126"/>
                  <a:pt x="-104780" y="765764"/>
                  <a:pt x="16698" y="1466806"/>
                </a:cubicBezTo>
                <a:cubicBezTo>
                  <a:pt x="102303" y="1838616"/>
                  <a:pt x="391749" y="2190981"/>
                  <a:pt x="589779" y="2506578"/>
                </a:cubicBezTo>
                <a:cubicBezTo>
                  <a:pt x="644148" y="2610175"/>
                  <a:pt x="727630" y="2834133"/>
                  <a:pt x="743387" y="2949688"/>
                </a:cubicBezTo>
                <a:cubicBezTo>
                  <a:pt x="764229" y="3050045"/>
                  <a:pt x="728188" y="3218572"/>
                  <a:pt x="820219" y="3286463"/>
                </a:cubicBezTo>
                <a:cubicBezTo>
                  <a:pt x="864195" y="3386763"/>
                  <a:pt x="1328370" y="3333121"/>
                  <a:pt x="1408946" y="3345582"/>
                </a:cubicBezTo>
                <a:cubicBezTo>
                  <a:pt x="1537744" y="3339212"/>
                  <a:pt x="1913297" y="3378326"/>
                  <a:pt x="1978171" y="3221477"/>
                </a:cubicBezTo>
                <a:cubicBezTo>
                  <a:pt x="2004881" y="3130452"/>
                  <a:pt x="2011307" y="2991485"/>
                  <a:pt x="2007730" y="2896548"/>
                </a:cubicBezTo>
                <a:cubicBezTo>
                  <a:pt x="2124738" y="2416559"/>
                  <a:pt x="2587908" y="1993174"/>
                  <a:pt x="2716650" y="1514078"/>
                </a:cubicBezTo>
                <a:cubicBezTo>
                  <a:pt x="2908254" y="563822"/>
                  <a:pt x="2042151" y="-104196"/>
                  <a:pt x="1145091" y="13427"/>
                </a:cubicBezTo>
                <a:close/>
              </a:path>
            </a:pathLst>
          </a:custGeom>
          <a:solidFill>
            <a:schemeClr val="bg1">
              <a:lumMod val="85000"/>
            </a:schemeClr>
          </a:solidFill>
          <a:ln w="15875" cap="rnd">
            <a:solidFill>
              <a:schemeClr val="bg1">
                <a:lumMod val="75000"/>
              </a:schemeClr>
            </a:solidFill>
            <a:prstDash val="solid"/>
            <a:round/>
          </a:ln>
        </p:spPr>
        <p:txBody>
          <a:bodyPr rtlCol="0" anchor="ctr"/>
          <a:lstStyle/>
          <a:p>
            <a:endParaRPr lang="de-DE"/>
          </a:p>
        </p:txBody>
      </p:sp>
      <p:sp>
        <p:nvSpPr>
          <p:cNvPr id="6" name="Freihandform: Form 5">
            <a:extLst>
              <a:ext uri="{FF2B5EF4-FFF2-40B4-BE49-F238E27FC236}">
                <a16:creationId xmlns:a16="http://schemas.microsoft.com/office/drawing/2014/main" id="{8E8E476E-5B49-91AA-ED4F-D77D7BB5EB1B}"/>
              </a:ext>
            </a:extLst>
          </p:cNvPr>
          <p:cNvSpPr/>
          <p:nvPr/>
        </p:nvSpPr>
        <p:spPr>
          <a:xfrm>
            <a:off x="5329564" y="6075175"/>
            <a:ext cx="1532810" cy="410496"/>
          </a:xfrm>
          <a:custGeom>
            <a:avLst/>
            <a:gdLst>
              <a:gd name="connsiteX0" fmla="*/ 1432434 w 1433282"/>
              <a:gd name="connsiteY0" fmla="*/ 107015 h 383842"/>
              <a:gd name="connsiteX1" fmla="*/ 1335095 w 1433282"/>
              <a:gd name="connsiteY1" fmla="*/ 228158 h 383842"/>
              <a:gd name="connsiteX2" fmla="*/ 127356 w 1433282"/>
              <a:gd name="connsiteY2" fmla="*/ 382883 h 383842"/>
              <a:gd name="connsiteX3" fmla="*/ 2581 w 1433282"/>
              <a:gd name="connsiteY3" fmla="*/ 290182 h 383842"/>
              <a:gd name="connsiteX4" fmla="*/ 849 w 1433282"/>
              <a:gd name="connsiteY4" fmla="*/ 276828 h 383842"/>
              <a:gd name="connsiteX5" fmla="*/ 98187 w 1433282"/>
              <a:gd name="connsiteY5" fmla="*/ 155685 h 383842"/>
              <a:gd name="connsiteX6" fmla="*/ 1305927 w 1433282"/>
              <a:gd name="connsiteY6" fmla="*/ 959 h 383842"/>
              <a:gd name="connsiteX7" fmla="*/ 1430702 w 1433282"/>
              <a:gd name="connsiteY7" fmla="*/ 93660 h 383842"/>
              <a:gd name="connsiteX8" fmla="*/ 1432434 w 1433282"/>
              <a:gd name="connsiteY8" fmla="*/ 107015 h 383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3282" h="383842">
                <a:moveTo>
                  <a:pt x="1432434" y="107015"/>
                </a:moveTo>
                <a:cubicBezTo>
                  <a:pt x="1439977" y="166078"/>
                  <a:pt x="1396393" y="220279"/>
                  <a:pt x="1335095" y="228158"/>
                </a:cubicBezTo>
                <a:lnTo>
                  <a:pt x="127356" y="382883"/>
                </a:lnTo>
                <a:cubicBezTo>
                  <a:pt x="66002" y="390762"/>
                  <a:pt x="10180" y="349245"/>
                  <a:pt x="2581" y="290182"/>
                </a:cubicBezTo>
                <a:lnTo>
                  <a:pt x="849" y="276828"/>
                </a:lnTo>
                <a:cubicBezTo>
                  <a:pt x="-6695" y="217765"/>
                  <a:pt x="36890" y="163563"/>
                  <a:pt x="98187" y="155685"/>
                </a:cubicBezTo>
                <a:lnTo>
                  <a:pt x="1305927" y="959"/>
                </a:lnTo>
                <a:cubicBezTo>
                  <a:pt x="1367281" y="-6920"/>
                  <a:pt x="1423102" y="34598"/>
                  <a:pt x="1430702" y="93660"/>
                </a:cubicBezTo>
                <a:lnTo>
                  <a:pt x="1432434" y="107015"/>
                </a:lnTo>
                <a:close/>
              </a:path>
            </a:pathLst>
          </a:custGeom>
          <a:solidFill>
            <a:schemeClr val="bg1">
              <a:lumMod val="75000"/>
            </a:schemeClr>
          </a:solidFill>
          <a:ln w="15875" cap="rnd">
            <a:solidFill>
              <a:schemeClr val="bg1">
                <a:lumMod val="65000"/>
              </a:schemeClr>
            </a:solidFill>
            <a:prstDash val="solid"/>
            <a:round/>
          </a:ln>
        </p:spPr>
        <p:txBody>
          <a:bodyPr rtlCol="0" anchor="ctr"/>
          <a:lstStyle/>
          <a:p>
            <a:endParaRPr lang="de-DE"/>
          </a:p>
        </p:txBody>
      </p:sp>
      <p:sp>
        <p:nvSpPr>
          <p:cNvPr id="7" name="Freihandform: Form 6">
            <a:extLst>
              <a:ext uri="{FF2B5EF4-FFF2-40B4-BE49-F238E27FC236}">
                <a16:creationId xmlns:a16="http://schemas.microsoft.com/office/drawing/2014/main" id="{5E930E6F-1C9C-59DA-7E2E-B2F2537465AB}"/>
              </a:ext>
            </a:extLst>
          </p:cNvPr>
          <p:cNvSpPr/>
          <p:nvPr/>
        </p:nvSpPr>
        <p:spPr>
          <a:xfrm>
            <a:off x="5329564" y="6359921"/>
            <a:ext cx="1532810" cy="410496"/>
          </a:xfrm>
          <a:custGeom>
            <a:avLst/>
            <a:gdLst>
              <a:gd name="connsiteX0" fmla="*/ 1432434 w 1433282"/>
              <a:gd name="connsiteY0" fmla="*/ 107015 h 383842"/>
              <a:gd name="connsiteX1" fmla="*/ 1335095 w 1433282"/>
              <a:gd name="connsiteY1" fmla="*/ 228158 h 383842"/>
              <a:gd name="connsiteX2" fmla="*/ 127356 w 1433282"/>
              <a:gd name="connsiteY2" fmla="*/ 382884 h 383842"/>
              <a:gd name="connsiteX3" fmla="*/ 2581 w 1433282"/>
              <a:gd name="connsiteY3" fmla="*/ 290182 h 383842"/>
              <a:gd name="connsiteX4" fmla="*/ 849 w 1433282"/>
              <a:gd name="connsiteY4" fmla="*/ 276828 h 383842"/>
              <a:gd name="connsiteX5" fmla="*/ 98187 w 1433282"/>
              <a:gd name="connsiteY5" fmla="*/ 155685 h 383842"/>
              <a:gd name="connsiteX6" fmla="*/ 1305927 w 1433282"/>
              <a:gd name="connsiteY6" fmla="*/ 959 h 383842"/>
              <a:gd name="connsiteX7" fmla="*/ 1430702 w 1433282"/>
              <a:gd name="connsiteY7" fmla="*/ 93661 h 383842"/>
              <a:gd name="connsiteX8" fmla="*/ 1432434 w 1433282"/>
              <a:gd name="connsiteY8" fmla="*/ 107015 h 383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3282" h="383842">
                <a:moveTo>
                  <a:pt x="1432434" y="107015"/>
                </a:moveTo>
                <a:cubicBezTo>
                  <a:pt x="1439977" y="166078"/>
                  <a:pt x="1396393" y="220279"/>
                  <a:pt x="1335095" y="228158"/>
                </a:cubicBezTo>
                <a:lnTo>
                  <a:pt x="127356" y="382884"/>
                </a:lnTo>
                <a:cubicBezTo>
                  <a:pt x="66002" y="390762"/>
                  <a:pt x="10180" y="349245"/>
                  <a:pt x="2581" y="290182"/>
                </a:cubicBezTo>
                <a:lnTo>
                  <a:pt x="849" y="276828"/>
                </a:lnTo>
                <a:cubicBezTo>
                  <a:pt x="-6695" y="217765"/>
                  <a:pt x="36890" y="163564"/>
                  <a:pt x="98187" y="155685"/>
                </a:cubicBezTo>
                <a:lnTo>
                  <a:pt x="1305927" y="959"/>
                </a:lnTo>
                <a:cubicBezTo>
                  <a:pt x="1367281" y="-6919"/>
                  <a:pt x="1423102" y="34598"/>
                  <a:pt x="1430702" y="93661"/>
                </a:cubicBezTo>
                <a:lnTo>
                  <a:pt x="1432434" y="107015"/>
                </a:lnTo>
                <a:close/>
              </a:path>
            </a:pathLst>
          </a:custGeom>
          <a:solidFill>
            <a:schemeClr val="bg1">
              <a:lumMod val="75000"/>
            </a:schemeClr>
          </a:solidFill>
          <a:ln w="15875" cap="rnd">
            <a:solidFill>
              <a:schemeClr val="bg1">
                <a:lumMod val="65000"/>
              </a:schemeClr>
            </a:solidFill>
            <a:prstDash val="solid"/>
            <a:round/>
          </a:ln>
        </p:spPr>
        <p:txBody>
          <a:bodyPr rtlCol="0" anchor="ctr"/>
          <a:lstStyle/>
          <a:p>
            <a:endParaRPr lang="de-DE"/>
          </a:p>
        </p:txBody>
      </p:sp>
      <p:sp>
        <p:nvSpPr>
          <p:cNvPr id="21" name="Freihandform: Form 20">
            <a:extLst>
              <a:ext uri="{FF2B5EF4-FFF2-40B4-BE49-F238E27FC236}">
                <a16:creationId xmlns:a16="http://schemas.microsoft.com/office/drawing/2014/main" id="{E4422F72-0064-567C-706C-01C86DC72359}"/>
              </a:ext>
            </a:extLst>
          </p:cNvPr>
          <p:cNvSpPr/>
          <p:nvPr/>
        </p:nvSpPr>
        <p:spPr>
          <a:xfrm>
            <a:off x="5353554" y="6644668"/>
            <a:ext cx="1508820" cy="213333"/>
          </a:xfrm>
          <a:custGeom>
            <a:avLst/>
            <a:gdLst>
              <a:gd name="connsiteX0" fmla="*/ 1372622 w 1508820"/>
              <a:gd name="connsiteY0" fmla="*/ 1026 h 213333"/>
              <a:gd name="connsiteX1" fmla="*/ 1506061 w 1508820"/>
              <a:gd name="connsiteY1" fmla="*/ 100165 h 213333"/>
              <a:gd name="connsiteX2" fmla="*/ 1507913 w 1508820"/>
              <a:gd name="connsiteY2" fmla="*/ 114446 h 213333"/>
              <a:gd name="connsiteX3" fmla="*/ 1483472 w 1508820"/>
              <a:gd name="connsiteY3" fmla="*/ 199751 h 213333"/>
              <a:gd name="connsiteX4" fmla="*/ 1467452 w 1508820"/>
              <a:gd name="connsiteY4" fmla="*/ 213333 h 213333"/>
              <a:gd name="connsiteX5" fmla="*/ 0 w 1508820"/>
              <a:gd name="connsiteY5" fmla="*/ 213333 h 213333"/>
              <a:gd name="connsiteX6" fmla="*/ 1359 w 1508820"/>
              <a:gd name="connsiteY6" fmla="*/ 210746 h 213333"/>
              <a:gd name="connsiteX7" fmla="*/ 81015 w 1508820"/>
              <a:gd name="connsiteY7" fmla="*/ 166496 h 213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8820" h="213333">
                <a:moveTo>
                  <a:pt x="1372622" y="1026"/>
                </a:moveTo>
                <a:cubicBezTo>
                  <a:pt x="1438236" y="-7400"/>
                  <a:pt x="1497933" y="37001"/>
                  <a:pt x="1506061" y="100165"/>
                </a:cubicBezTo>
                <a:lnTo>
                  <a:pt x="1507913" y="114446"/>
                </a:lnTo>
                <a:cubicBezTo>
                  <a:pt x="1511947" y="146029"/>
                  <a:pt x="1502311" y="176311"/>
                  <a:pt x="1483472" y="199751"/>
                </a:cubicBezTo>
                <a:lnTo>
                  <a:pt x="1467452" y="213333"/>
                </a:lnTo>
                <a:lnTo>
                  <a:pt x="0" y="213333"/>
                </a:lnTo>
                <a:lnTo>
                  <a:pt x="1359" y="210746"/>
                </a:lnTo>
                <a:cubicBezTo>
                  <a:pt x="20197" y="187306"/>
                  <a:pt x="48239" y="170709"/>
                  <a:pt x="81015" y="166496"/>
                </a:cubicBezTo>
                <a:close/>
              </a:path>
            </a:pathLst>
          </a:custGeom>
          <a:solidFill>
            <a:schemeClr val="bg1">
              <a:lumMod val="75000"/>
            </a:schemeClr>
          </a:solidFill>
          <a:ln w="15875" cap="rnd">
            <a:solidFill>
              <a:schemeClr val="bg1">
                <a:lumMod val="65000"/>
              </a:schemeClr>
            </a:solidFill>
            <a:prstDash val="solid"/>
            <a:round/>
          </a:ln>
        </p:spPr>
        <p:txBody>
          <a:bodyPr wrap="square" rtlCol="0" anchor="ctr">
            <a:noAutofit/>
          </a:bodyPr>
          <a:lstStyle/>
          <a:p>
            <a:endParaRPr lang="de-DE"/>
          </a:p>
        </p:txBody>
      </p:sp>
      <p:sp>
        <p:nvSpPr>
          <p:cNvPr id="72" name="Textplatzhalter 71">
            <a:extLst>
              <a:ext uri="{FF2B5EF4-FFF2-40B4-BE49-F238E27FC236}">
                <a16:creationId xmlns:a16="http://schemas.microsoft.com/office/drawing/2014/main" id="{4D6C5915-5210-9889-D7A6-1CFAE8147747}"/>
              </a:ext>
            </a:extLst>
          </p:cNvPr>
          <p:cNvSpPr>
            <a:spLocks noGrp="1"/>
          </p:cNvSpPr>
          <p:nvPr>
            <p:ph type="body" sz="quarter" idx="13" hasCustomPrompt="1"/>
          </p:nvPr>
        </p:nvSpPr>
        <p:spPr>
          <a:xfrm>
            <a:off x="4296000" y="1601496"/>
            <a:ext cx="3600000" cy="307777"/>
          </a:xfrm>
          <a:prstGeom prst="rect">
            <a:avLst/>
          </a:prstGeom>
        </p:spPr>
        <p:txBody>
          <a:bodyPr lIns="0" tIns="0" rIns="0" bIns="0">
            <a:spAutoFit/>
          </a:bodyPr>
          <a:lstStyle>
            <a:lvl1pPr marL="0" indent="0" algn="ct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r>
              <a:rPr lang="de-DE" dirty="0" err="1"/>
              <a:t>dolor</a:t>
            </a:r>
            <a:r>
              <a:rPr lang="de-DE" dirty="0"/>
              <a:t> </a:t>
            </a:r>
            <a:r>
              <a:rPr lang="de-DE" dirty="0" err="1"/>
              <a:t>set</a:t>
            </a:r>
            <a:r>
              <a:rPr lang="de-DE" dirty="0"/>
              <a:t> </a:t>
            </a:r>
          </a:p>
        </p:txBody>
      </p:sp>
      <p:sp>
        <p:nvSpPr>
          <p:cNvPr id="73" name="Textplatzhalter 71">
            <a:extLst>
              <a:ext uri="{FF2B5EF4-FFF2-40B4-BE49-F238E27FC236}">
                <a16:creationId xmlns:a16="http://schemas.microsoft.com/office/drawing/2014/main" id="{02097980-4064-4993-FC4C-F3BCFA7ECAFF}"/>
              </a:ext>
            </a:extLst>
          </p:cNvPr>
          <p:cNvSpPr>
            <a:spLocks noGrp="1"/>
          </p:cNvSpPr>
          <p:nvPr>
            <p:ph type="body" sz="quarter" idx="14" hasCustomPrompt="1"/>
          </p:nvPr>
        </p:nvSpPr>
        <p:spPr>
          <a:xfrm>
            <a:off x="8262815" y="2906464"/>
            <a:ext cx="3378323" cy="615553"/>
          </a:xfrm>
          <a:prstGeom prst="rect">
            <a:avLst/>
          </a:prstGeom>
        </p:spPr>
        <p:txBody>
          <a:bodyPr wrap="square" lIns="0" tIns="0" rIns="0" bIns="0">
            <a:spAutoFit/>
          </a:bodyPr>
          <a:lstStyle>
            <a:lvl1pPr marL="0" indent="0" algn="l">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5" name="Textplatzhalter 71">
            <a:extLst>
              <a:ext uri="{FF2B5EF4-FFF2-40B4-BE49-F238E27FC236}">
                <a16:creationId xmlns:a16="http://schemas.microsoft.com/office/drawing/2014/main" id="{DA6FC1FA-4747-2195-4CBA-83FA31B399E1}"/>
              </a:ext>
            </a:extLst>
          </p:cNvPr>
          <p:cNvSpPr>
            <a:spLocks noGrp="1"/>
          </p:cNvSpPr>
          <p:nvPr>
            <p:ph type="body" sz="quarter" idx="15" hasCustomPrompt="1"/>
          </p:nvPr>
        </p:nvSpPr>
        <p:spPr>
          <a:xfrm>
            <a:off x="8262815" y="4075181"/>
            <a:ext cx="3378323" cy="615553"/>
          </a:xfrm>
          <a:prstGeom prst="rect">
            <a:avLst/>
          </a:prstGeom>
        </p:spPr>
        <p:txBody>
          <a:bodyPr wrap="square" lIns="0" tIns="0" rIns="0" bIns="0">
            <a:spAutoFit/>
          </a:bodyPr>
          <a:lstStyle>
            <a:lvl1pPr marL="0" indent="0" algn="l">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6" name="Textplatzhalter 71">
            <a:extLst>
              <a:ext uri="{FF2B5EF4-FFF2-40B4-BE49-F238E27FC236}">
                <a16:creationId xmlns:a16="http://schemas.microsoft.com/office/drawing/2014/main" id="{77B7DC6F-D700-32CB-0BD4-520C2ACA2A6E}"/>
              </a:ext>
            </a:extLst>
          </p:cNvPr>
          <p:cNvSpPr>
            <a:spLocks noGrp="1"/>
          </p:cNvSpPr>
          <p:nvPr>
            <p:ph type="body" sz="quarter" idx="16" hasCustomPrompt="1"/>
          </p:nvPr>
        </p:nvSpPr>
        <p:spPr>
          <a:xfrm>
            <a:off x="7636205" y="5243899"/>
            <a:ext cx="4004933" cy="615553"/>
          </a:xfrm>
          <a:prstGeom prst="rect">
            <a:avLst/>
          </a:prstGeom>
        </p:spPr>
        <p:txBody>
          <a:bodyPr wrap="square" lIns="0" tIns="0" rIns="0" bIns="0">
            <a:spAutoFit/>
          </a:bodyPr>
          <a:lstStyle>
            <a:lvl1pPr marL="0" indent="0" algn="l">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7" name="Textplatzhalter 71">
            <a:extLst>
              <a:ext uri="{FF2B5EF4-FFF2-40B4-BE49-F238E27FC236}">
                <a16:creationId xmlns:a16="http://schemas.microsoft.com/office/drawing/2014/main" id="{40A32B8D-CB2A-C99A-058A-9E7D1787FFF0}"/>
              </a:ext>
            </a:extLst>
          </p:cNvPr>
          <p:cNvSpPr>
            <a:spLocks noGrp="1"/>
          </p:cNvSpPr>
          <p:nvPr>
            <p:ph type="body" sz="quarter" idx="17" hasCustomPrompt="1"/>
          </p:nvPr>
        </p:nvSpPr>
        <p:spPr>
          <a:xfrm>
            <a:off x="550862" y="4075181"/>
            <a:ext cx="3378323" cy="615553"/>
          </a:xfrm>
          <a:prstGeom prst="rect">
            <a:avLst/>
          </a:prstGeom>
        </p:spPr>
        <p:txBody>
          <a:bodyPr wrap="square" lIns="0" tIns="0" rIns="0" bIns="0">
            <a:spAutoFit/>
          </a:bodyPr>
          <a:lstStyle>
            <a:lvl1pPr marL="0" indent="0" algn="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9" name="Textplatzhalter 71">
            <a:extLst>
              <a:ext uri="{FF2B5EF4-FFF2-40B4-BE49-F238E27FC236}">
                <a16:creationId xmlns:a16="http://schemas.microsoft.com/office/drawing/2014/main" id="{FA980B54-CC06-A0AD-E3CA-F64D87890EEA}"/>
              </a:ext>
            </a:extLst>
          </p:cNvPr>
          <p:cNvSpPr>
            <a:spLocks noGrp="1"/>
          </p:cNvSpPr>
          <p:nvPr>
            <p:ph type="body" sz="quarter" idx="19" hasCustomPrompt="1"/>
          </p:nvPr>
        </p:nvSpPr>
        <p:spPr>
          <a:xfrm>
            <a:off x="554327" y="5243899"/>
            <a:ext cx="4000625" cy="615553"/>
          </a:xfrm>
          <a:prstGeom prst="rect">
            <a:avLst/>
          </a:prstGeom>
        </p:spPr>
        <p:txBody>
          <a:bodyPr wrap="square" lIns="0" tIns="0" rIns="0" bIns="0">
            <a:spAutoFit/>
          </a:bodyPr>
          <a:lstStyle>
            <a:lvl1pPr marL="0" indent="0" algn="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11" name="Foliennummernplatzhalter 5">
            <a:extLst>
              <a:ext uri="{FF2B5EF4-FFF2-40B4-BE49-F238E27FC236}">
                <a16:creationId xmlns:a16="http://schemas.microsoft.com/office/drawing/2014/main" id="{62DC6433-639B-0521-06F2-A496A588CF83}"/>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363742883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 Text (eine Spalte)">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3"/>
                </a:solidFill>
                <a:latin typeface="+mn-lt"/>
              </a:defRPr>
            </a:lvl1pPr>
          </a:lstStyle>
          <a:p>
            <a:pPr lvl="0"/>
            <a:r>
              <a:rPr lang="de-DE" dirty="0"/>
              <a:t>Überschrift</a:t>
            </a:r>
          </a:p>
        </p:txBody>
      </p:sp>
      <p:sp>
        <p:nvSpPr>
          <p:cNvPr id="3" name="Textplatzhalter 2">
            <a:extLst>
              <a:ext uri="{FF2B5EF4-FFF2-40B4-BE49-F238E27FC236}">
                <a16:creationId xmlns:a16="http://schemas.microsoft.com/office/drawing/2014/main" id="{C29E2FE5-EB51-E2EB-82BE-8BF2A9A1224C}"/>
              </a:ext>
            </a:extLst>
          </p:cNvPr>
          <p:cNvSpPr>
            <a:spLocks noGrp="1"/>
          </p:cNvSpPr>
          <p:nvPr>
            <p:ph type="body" sz="quarter" idx="13" hasCustomPrompt="1"/>
          </p:nvPr>
        </p:nvSpPr>
        <p:spPr>
          <a:xfrm>
            <a:off x="559644" y="1606812"/>
            <a:ext cx="11081494" cy="4701913"/>
          </a:xfrm>
          <a:prstGeom prst="rect">
            <a:avLst/>
          </a:prstGeom>
        </p:spPr>
        <p:txBody>
          <a:bodyPr lIns="0" tIns="0" rIns="0" bIns="0"/>
          <a:lstStyle>
            <a:lvl1pPr marL="270000" indent="-270000">
              <a:lnSpc>
                <a:spcPct val="110000"/>
              </a:lnSpc>
              <a:spcBef>
                <a:spcPts val="1000"/>
              </a:spcBef>
              <a:buClr>
                <a:schemeClr val="accent3"/>
              </a:buClr>
              <a:defRPr sz="2000">
                <a:solidFill>
                  <a:schemeClr val="tx1">
                    <a:lumMod val="75000"/>
                    <a:lumOff val="25000"/>
                  </a:schemeClr>
                </a:solidFill>
              </a:defRPr>
            </a:lvl1pPr>
            <a:lvl2pPr marL="540000" indent="-270000">
              <a:lnSpc>
                <a:spcPct val="110000"/>
              </a:lnSpc>
              <a:spcBef>
                <a:spcPts val="1000"/>
              </a:spcBef>
              <a:buClr>
                <a:schemeClr val="accent3"/>
              </a:buClr>
              <a:defRPr sz="2000">
                <a:solidFill>
                  <a:schemeClr val="tx1">
                    <a:lumMod val="75000"/>
                    <a:lumOff val="25000"/>
                  </a:schemeClr>
                </a:solidFill>
              </a:defRPr>
            </a:lvl2pPr>
            <a:lvl3pPr marL="810000" indent="-270000">
              <a:lnSpc>
                <a:spcPct val="110000"/>
              </a:lnSpc>
              <a:spcBef>
                <a:spcPts val="1000"/>
              </a:spcBef>
              <a:buClr>
                <a:schemeClr val="accent3"/>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2" name="Foliennummernplatzhalter 5">
            <a:extLst>
              <a:ext uri="{FF2B5EF4-FFF2-40B4-BE49-F238E27FC236}">
                <a16:creationId xmlns:a16="http://schemas.microsoft.com/office/drawing/2014/main" id="{FD4D1344-820F-A467-92A4-ADFE7E0357F0}"/>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78870965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 Text (zwei Spalten)">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3"/>
                </a:solidFill>
                <a:latin typeface="+mn-lt"/>
              </a:defRPr>
            </a:lvl1pPr>
          </a:lstStyle>
          <a:p>
            <a:pPr lvl="0"/>
            <a:r>
              <a:rPr lang="de-DE" dirty="0"/>
              <a:t>Überschrift</a:t>
            </a:r>
          </a:p>
        </p:txBody>
      </p:sp>
      <p:sp>
        <p:nvSpPr>
          <p:cNvPr id="3" name="Textplatzhalter 2">
            <a:extLst>
              <a:ext uri="{FF2B5EF4-FFF2-40B4-BE49-F238E27FC236}">
                <a16:creationId xmlns:a16="http://schemas.microsoft.com/office/drawing/2014/main" id="{C29E2FE5-EB51-E2EB-82BE-8BF2A9A1224C}"/>
              </a:ext>
            </a:extLst>
          </p:cNvPr>
          <p:cNvSpPr>
            <a:spLocks noGrp="1"/>
          </p:cNvSpPr>
          <p:nvPr>
            <p:ph type="body" sz="quarter" idx="13" hasCustomPrompt="1"/>
          </p:nvPr>
        </p:nvSpPr>
        <p:spPr>
          <a:xfrm>
            <a:off x="559644" y="1606812"/>
            <a:ext cx="5356356" cy="4701913"/>
          </a:xfrm>
          <a:prstGeom prst="rect">
            <a:avLst/>
          </a:prstGeom>
        </p:spPr>
        <p:txBody>
          <a:bodyPr lIns="0" tIns="0" rIns="0" bIns="0"/>
          <a:lstStyle>
            <a:lvl1pPr marL="270000" indent="-270000">
              <a:lnSpc>
                <a:spcPct val="110000"/>
              </a:lnSpc>
              <a:spcBef>
                <a:spcPts val="1000"/>
              </a:spcBef>
              <a:buClr>
                <a:schemeClr val="accent3"/>
              </a:buClr>
              <a:defRPr sz="2000">
                <a:solidFill>
                  <a:schemeClr val="tx1">
                    <a:lumMod val="75000"/>
                    <a:lumOff val="25000"/>
                  </a:schemeClr>
                </a:solidFill>
              </a:defRPr>
            </a:lvl1pPr>
            <a:lvl2pPr marL="540000" indent="-270000">
              <a:lnSpc>
                <a:spcPct val="110000"/>
              </a:lnSpc>
              <a:spcBef>
                <a:spcPts val="1000"/>
              </a:spcBef>
              <a:buClr>
                <a:schemeClr val="accent3"/>
              </a:buClr>
              <a:defRPr sz="2000">
                <a:solidFill>
                  <a:schemeClr val="tx1">
                    <a:lumMod val="75000"/>
                    <a:lumOff val="25000"/>
                  </a:schemeClr>
                </a:solidFill>
              </a:defRPr>
            </a:lvl2pPr>
            <a:lvl3pPr marL="810000" indent="-270000">
              <a:lnSpc>
                <a:spcPct val="110000"/>
              </a:lnSpc>
              <a:spcBef>
                <a:spcPts val="1000"/>
              </a:spcBef>
              <a:buClr>
                <a:schemeClr val="accent3"/>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4" name="Textplatzhalter 2">
            <a:extLst>
              <a:ext uri="{FF2B5EF4-FFF2-40B4-BE49-F238E27FC236}">
                <a16:creationId xmlns:a16="http://schemas.microsoft.com/office/drawing/2014/main" id="{0BB4DB3C-C28B-9EF9-63AD-139C4CFE607B}"/>
              </a:ext>
            </a:extLst>
          </p:cNvPr>
          <p:cNvSpPr>
            <a:spLocks noGrp="1"/>
          </p:cNvSpPr>
          <p:nvPr>
            <p:ph type="body" sz="quarter" idx="14" hasCustomPrompt="1"/>
          </p:nvPr>
        </p:nvSpPr>
        <p:spPr>
          <a:xfrm>
            <a:off x="6284782" y="1606812"/>
            <a:ext cx="5356356" cy="4701913"/>
          </a:xfrm>
          <a:prstGeom prst="rect">
            <a:avLst/>
          </a:prstGeom>
        </p:spPr>
        <p:txBody>
          <a:bodyPr lIns="0" tIns="0" rIns="0" bIns="0"/>
          <a:lstStyle>
            <a:lvl1pPr marL="270000" indent="-270000">
              <a:lnSpc>
                <a:spcPct val="110000"/>
              </a:lnSpc>
              <a:spcBef>
                <a:spcPts val="1000"/>
              </a:spcBef>
              <a:buClr>
                <a:schemeClr val="accent3"/>
              </a:buClr>
              <a:defRPr sz="2000">
                <a:solidFill>
                  <a:schemeClr val="tx1">
                    <a:lumMod val="75000"/>
                    <a:lumOff val="25000"/>
                  </a:schemeClr>
                </a:solidFill>
              </a:defRPr>
            </a:lvl1pPr>
            <a:lvl2pPr marL="540000" indent="-270000">
              <a:lnSpc>
                <a:spcPct val="110000"/>
              </a:lnSpc>
              <a:spcBef>
                <a:spcPts val="1000"/>
              </a:spcBef>
              <a:buClr>
                <a:schemeClr val="accent3"/>
              </a:buClr>
              <a:defRPr sz="2000">
                <a:solidFill>
                  <a:schemeClr val="tx1">
                    <a:lumMod val="75000"/>
                    <a:lumOff val="25000"/>
                  </a:schemeClr>
                </a:solidFill>
              </a:defRPr>
            </a:lvl2pPr>
            <a:lvl3pPr marL="810000" indent="-270000">
              <a:lnSpc>
                <a:spcPct val="110000"/>
              </a:lnSpc>
              <a:spcBef>
                <a:spcPts val="1000"/>
              </a:spcBef>
              <a:buClr>
                <a:schemeClr val="accent3"/>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2" name="Foliennummernplatzhalter 5">
            <a:extLst>
              <a:ext uri="{FF2B5EF4-FFF2-40B4-BE49-F238E27FC236}">
                <a16:creationId xmlns:a16="http://schemas.microsoft.com/office/drawing/2014/main" id="{9D23036F-9516-B841-765B-B1D5B01D44FC}"/>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424275295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 Text + Diagramm">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buNone/>
              <a:defRPr b="1" cap="all" spc="100" baseline="0">
                <a:solidFill>
                  <a:schemeClr val="accent3"/>
                </a:solidFill>
                <a:latin typeface="+mn-lt"/>
              </a:defRPr>
            </a:lvl1pPr>
          </a:lstStyle>
          <a:p>
            <a:pPr lvl="0"/>
            <a:r>
              <a:rPr lang="de-DE" dirty="0"/>
              <a:t>Überschrift</a:t>
            </a:r>
          </a:p>
        </p:txBody>
      </p:sp>
      <p:sp>
        <p:nvSpPr>
          <p:cNvPr id="2" name="Textplatzhalter 7">
            <a:extLst>
              <a:ext uri="{FF2B5EF4-FFF2-40B4-BE49-F238E27FC236}">
                <a16:creationId xmlns:a16="http://schemas.microsoft.com/office/drawing/2014/main" id="{D6A12BEA-6120-0515-21F8-87EF7C59C953}"/>
              </a:ext>
            </a:extLst>
          </p:cNvPr>
          <p:cNvSpPr>
            <a:spLocks noGrp="1" noRot="1" noMove="1" noResize="1" noEditPoints="1" noAdjustHandles="1" noChangeArrowheads="1" noChangeShapeType="1"/>
          </p:cNvSpPr>
          <p:nvPr>
            <p:ph type="body" sz="quarter" idx="13" hasCustomPrompt="1"/>
          </p:nvPr>
        </p:nvSpPr>
        <p:spPr>
          <a:xfrm>
            <a:off x="6276000" y="1671122"/>
            <a:ext cx="5365138" cy="4637603"/>
          </a:xfrm>
          <a:prstGeom prst="roundRect">
            <a:avLst>
              <a:gd name="adj" fmla="val 3275"/>
            </a:avLst>
          </a:prstGeom>
          <a:solidFill>
            <a:schemeClr val="bg1">
              <a:lumMod val="95000"/>
            </a:schemeClr>
          </a:solidFill>
        </p:spPr>
        <p:txBody>
          <a:bodyPr lIns="360000" tIns="360000" rIns="360000" bIns="360000"/>
          <a:lstStyle>
            <a:lvl1pPr marL="270000" indent="-270000">
              <a:lnSpc>
                <a:spcPct val="110000"/>
              </a:lnSpc>
              <a:spcBef>
                <a:spcPts val="1500"/>
              </a:spcBef>
              <a:buClr>
                <a:schemeClr val="accent3"/>
              </a:buClr>
              <a:defRPr sz="1400">
                <a:solidFill>
                  <a:schemeClr val="tx1">
                    <a:lumMod val="75000"/>
                    <a:lumOff val="25000"/>
                  </a:schemeClr>
                </a:solidFill>
              </a:defRPr>
            </a:lvl1pPr>
            <a:lvl2pPr marL="540000" indent="-270000">
              <a:lnSpc>
                <a:spcPct val="110000"/>
              </a:lnSpc>
              <a:spcBef>
                <a:spcPts val="1500"/>
              </a:spcBef>
              <a:buClr>
                <a:schemeClr val="accent3"/>
              </a:buClr>
              <a:defRPr sz="1400">
                <a:solidFill>
                  <a:schemeClr val="tx1">
                    <a:lumMod val="75000"/>
                    <a:lumOff val="25000"/>
                  </a:schemeClr>
                </a:solidFill>
              </a:defRPr>
            </a:lvl2pPr>
            <a:lvl3pPr marL="810000" indent="-270000">
              <a:lnSpc>
                <a:spcPct val="110000"/>
              </a:lnSpc>
              <a:spcBef>
                <a:spcPts val="1500"/>
              </a:spcBef>
              <a:buClr>
                <a:schemeClr val="accent3"/>
              </a:buClr>
              <a:defRPr sz="14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5" name="Diagrammplatzhalter 4">
            <a:extLst>
              <a:ext uri="{FF2B5EF4-FFF2-40B4-BE49-F238E27FC236}">
                <a16:creationId xmlns:a16="http://schemas.microsoft.com/office/drawing/2014/main" id="{8BE0EB4F-1346-639B-7F8A-F83724DBB885}"/>
              </a:ext>
            </a:extLst>
          </p:cNvPr>
          <p:cNvSpPr>
            <a:spLocks noGrp="1"/>
          </p:cNvSpPr>
          <p:nvPr>
            <p:ph type="chart" sz="quarter" idx="14" hasCustomPrompt="1"/>
          </p:nvPr>
        </p:nvSpPr>
        <p:spPr>
          <a:xfrm>
            <a:off x="556180" y="1665288"/>
            <a:ext cx="5359820" cy="4643437"/>
          </a:xfrm>
          <a:prstGeom prst="rect">
            <a:avLst/>
          </a:prstGeom>
          <a:solidFill>
            <a:schemeClr val="bg1"/>
          </a:solidFill>
          <a:ln>
            <a:noFill/>
          </a:ln>
        </p:spPr>
        <p:txBody>
          <a:bodyPr anchor="ctr"/>
          <a:lstStyle>
            <a:lvl1pPr marL="0" indent="0" algn="ctr">
              <a:buNone/>
              <a:defRPr sz="1600" spc="100" baseline="0">
                <a:solidFill>
                  <a:schemeClr val="tx1">
                    <a:lumMod val="75000"/>
                    <a:lumOff val="25000"/>
                  </a:schemeClr>
                </a:solidFill>
              </a:defRPr>
            </a:lvl1pPr>
          </a:lstStyle>
          <a:p>
            <a:r>
              <a:rPr lang="de-DE" dirty="0"/>
              <a:t>Diagramm hier einfügen</a:t>
            </a:r>
          </a:p>
        </p:txBody>
      </p:sp>
      <p:sp>
        <p:nvSpPr>
          <p:cNvPr id="3" name="Foliennummernplatzhalter 5">
            <a:extLst>
              <a:ext uri="{FF2B5EF4-FFF2-40B4-BE49-F238E27FC236}">
                <a16:creationId xmlns:a16="http://schemas.microsoft.com/office/drawing/2014/main" id="{23567B06-4405-9FE8-BA36-EF77E666107C}"/>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22535627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over 01">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7061E276-59BF-C351-D33B-A259B36CA173}"/>
              </a:ext>
            </a:extLst>
          </p:cNvPr>
          <p:cNvSpPr>
            <a:spLocks noGrp="1"/>
          </p:cNvSpPr>
          <p:nvPr>
            <p:ph type="body" sz="quarter" idx="11" hasCustomPrompt="1"/>
          </p:nvPr>
        </p:nvSpPr>
        <p:spPr>
          <a:xfrm>
            <a:off x="550864" y="4013626"/>
            <a:ext cx="5545136" cy="830997"/>
          </a:xfrm>
          <a:prstGeom prst="rect">
            <a:avLst/>
          </a:prstGeom>
        </p:spPr>
        <p:txBody>
          <a:bodyPr wrap="square" lIns="0" tIns="0" rIns="0" bIns="0">
            <a:spAutoFit/>
          </a:bodyPr>
          <a:lstStyle>
            <a:lvl1pPr marL="0" indent="0">
              <a:lnSpc>
                <a:spcPct val="100000"/>
              </a:lnSpc>
              <a:spcBef>
                <a:spcPts val="0"/>
              </a:spcBef>
              <a:buNone/>
              <a:defRPr sz="1800" spc="100" baseline="0">
                <a:solidFill>
                  <a:schemeClr val="tx1">
                    <a:lumMod val="75000"/>
                    <a:lumOff val="25000"/>
                  </a:schemeClr>
                </a:solidFill>
              </a:defRPr>
            </a:lvl1pPr>
          </a:lstStyle>
          <a:p>
            <a:pPr lvl="0"/>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consetetur</a:t>
            </a:r>
            <a:r>
              <a:rPr lang="de-DE" dirty="0"/>
              <a:t> </a:t>
            </a:r>
            <a:br>
              <a:rPr lang="de-DE" dirty="0"/>
            </a:br>
            <a:r>
              <a:rPr lang="de-DE" dirty="0" err="1"/>
              <a:t>sadipscing</a:t>
            </a:r>
            <a:r>
              <a:rPr lang="de-DE" dirty="0"/>
              <a:t> </a:t>
            </a:r>
            <a:r>
              <a:rPr lang="de-DE" dirty="0" err="1"/>
              <a:t>elitr</a:t>
            </a:r>
            <a:r>
              <a:rPr lang="de-DE" dirty="0"/>
              <a:t>, sed </a:t>
            </a:r>
            <a:r>
              <a:rPr lang="de-DE" dirty="0" err="1"/>
              <a:t>nonumy</a:t>
            </a:r>
            <a:r>
              <a:rPr lang="de-DE" dirty="0"/>
              <a:t> </a:t>
            </a:r>
            <a:r>
              <a:rPr lang="de-DE" dirty="0" err="1"/>
              <a:t>dolor</a:t>
            </a:r>
            <a:r>
              <a:rPr lang="de-DE" dirty="0"/>
              <a:t> </a:t>
            </a:r>
            <a:br>
              <a:rPr lang="de-DE" dirty="0"/>
            </a:br>
            <a:r>
              <a:rPr lang="de-DE" dirty="0" err="1"/>
              <a:t>eirmod</a:t>
            </a:r>
            <a:r>
              <a:rPr lang="de-DE" dirty="0"/>
              <a:t> </a:t>
            </a:r>
            <a:r>
              <a:rPr lang="de-DE" dirty="0" err="1"/>
              <a:t>tempor</a:t>
            </a:r>
            <a:r>
              <a:rPr lang="de-DE" dirty="0"/>
              <a:t> </a:t>
            </a:r>
            <a:r>
              <a:rPr lang="de-DE" dirty="0" err="1"/>
              <a:t>invidunt</a:t>
            </a:r>
            <a:r>
              <a:rPr lang="de-DE" dirty="0"/>
              <a:t> </a:t>
            </a:r>
            <a:r>
              <a:rPr lang="de-DE" dirty="0" err="1"/>
              <a:t>ut</a:t>
            </a:r>
            <a:r>
              <a:rPr lang="de-DE" dirty="0"/>
              <a:t> </a:t>
            </a:r>
            <a:r>
              <a:rPr lang="de-DE" dirty="0" err="1"/>
              <a:t>labore</a:t>
            </a:r>
            <a:r>
              <a:rPr lang="de-DE" dirty="0"/>
              <a:t>. </a:t>
            </a:r>
          </a:p>
        </p:txBody>
      </p:sp>
      <p:sp>
        <p:nvSpPr>
          <p:cNvPr id="16" name="Textplatzhalter 15">
            <a:extLst>
              <a:ext uri="{FF2B5EF4-FFF2-40B4-BE49-F238E27FC236}">
                <a16:creationId xmlns:a16="http://schemas.microsoft.com/office/drawing/2014/main" id="{4FD0E45B-57BA-AEB3-D7CD-A12F119AEC53}"/>
              </a:ext>
            </a:extLst>
          </p:cNvPr>
          <p:cNvSpPr>
            <a:spLocks noGrp="1"/>
          </p:cNvSpPr>
          <p:nvPr>
            <p:ph type="body" sz="quarter" idx="10" hasCustomPrompt="1"/>
          </p:nvPr>
        </p:nvSpPr>
        <p:spPr>
          <a:xfrm>
            <a:off x="555421" y="1498497"/>
            <a:ext cx="5540579" cy="1538883"/>
          </a:xfrm>
          <a:prstGeom prst="rect">
            <a:avLst/>
          </a:prstGeom>
        </p:spPr>
        <p:txBody>
          <a:bodyPr lIns="0" tIns="0" rIns="0" bIns="0">
            <a:spAutoFit/>
          </a:bodyPr>
          <a:lstStyle>
            <a:lvl1pPr marL="0" indent="0">
              <a:lnSpc>
                <a:spcPct val="100000"/>
              </a:lnSpc>
              <a:buNone/>
              <a:defRPr sz="5000" b="1" cap="all" spc="100" baseline="0">
                <a:solidFill>
                  <a:schemeClr val="accent3">
                    <a:lumMod val="20000"/>
                    <a:lumOff val="80000"/>
                  </a:schemeClr>
                </a:solidFill>
                <a:latin typeface="+mj-lt"/>
              </a:defRPr>
            </a:lvl1pPr>
          </a:lstStyle>
          <a:p>
            <a:pPr lvl="0"/>
            <a:r>
              <a:rPr lang="de-DE" dirty="0"/>
              <a:t>Überschrift</a:t>
            </a:r>
            <a:br>
              <a:rPr lang="de-DE" dirty="0"/>
            </a:br>
            <a:endParaRPr lang="de-DE" dirty="0"/>
          </a:p>
        </p:txBody>
      </p:sp>
    </p:spTree>
    <p:extLst>
      <p:ext uri="{BB962C8B-B14F-4D97-AF65-F5344CB8AC3E}">
        <p14:creationId xmlns:p14="http://schemas.microsoft.com/office/powerpoint/2010/main" val="54201361"/>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02">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729513CA-39B9-F965-0DA0-7515A12AD16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r="37429"/>
          <a:stretch>
            <a:fillRect/>
          </a:stretch>
        </p:blipFill>
        <p:spPr>
          <a:xfrm>
            <a:off x="3374625" y="2"/>
            <a:ext cx="8817375" cy="6857999"/>
          </a:xfrm>
          <a:custGeom>
            <a:avLst/>
            <a:gdLst>
              <a:gd name="connsiteX0" fmla="*/ 0 w 8817375"/>
              <a:gd name="connsiteY0" fmla="*/ 0 h 6857999"/>
              <a:gd name="connsiteX1" fmla="*/ 8817375 w 8817375"/>
              <a:gd name="connsiteY1" fmla="*/ 0 h 6857999"/>
              <a:gd name="connsiteX2" fmla="*/ 8817375 w 8817375"/>
              <a:gd name="connsiteY2" fmla="*/ 6857999 h 6857999"/>
              <a:gd name="connsiteX3" fmla="*/ 0 w 8817375"/>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8817375" h="6857999">
                <a:moveTo>
                  <a:pt x="0" y="0"/>
                </a:moveTo>
                <a:lnTo>
                  <a:pt x="8817375" y="0"/>
                </a:lnTo>
                <a:lnTo>
                  <a:pt x="8817375" y="6857999"/>
                </a:lnTo>
                <a:lnTo>
                  <a:pt x="0" y="6857999"/>
                </a:lnTo>
                <a:close/>
              </a:path>
            </a:pathLst>
          </a:custGeom>
        </p:spPr>
      </p:pic>
      <p:sp>
        <p:nvSpPr>
          <p:cNvPr id="3" name="Textplatzhalter 17">
            <a:extLst>
              <a:ext uri="{FF2B5EF4-FFF2-40B4-BE49-F238E27FC236}">
                <a16:creationId xmlns:a16="http://schemas.microsoft.com/office/drawing/2014/main" id="{8632B394-57CF-B6A1-396D-D7520BD210D7}"/>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pic>
        <p:nvPicPr>
          <p:cNvPr id="4" name="Grafik 3">
            <a:extLst>
              <a:ext uri="{FF2B5EF4-FFF2-40B4-BE49-F238E27FC236}">
                <a16:creationId xmlns:a16="http://schemas.microsoft.com/office/drawing/2014/main" id="{5BC8A29A-AB98-E3A7-62CD-DE30A7EA08D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xmlns="" r:embed="rId5"/>
              </a:ext>
            </a:extLst>
          </a:blip>
          <a:srcRect r="5427"/>
          <a:stretch>
            <a:fillRect/>
          </a:stretch>
        </p:blipFill>
        <p:spPr>
          <a:xfrm>
            <a:off x="3838353" y="1049261"/>
            <a:ext cx="8353647" cy="6244676"/>
          </a:xfrm>
          <a:custGeom>
            <a:avLst/>
            <a:gdLst>
              <a:gd name="connsiteX0" fmla="*/ 0 w 8353647"/>
              <a:gd name="connsiteY0" fmla="*/ 0 h 6244676"/>
              <a:gd name="connsiteX1" fmla="*/ 8353647 w 8353647"/>
              <a:gd name="connsiteY1" fmla="*/ 0 h 6244676"/>
              <a:gd name="connsiteX2" fmla="*/ 8353647 w 8353647"/>
              <a:gd name="connsiteY2" fmla="*/ 6244676 h 6244676"/>
              <a:gd name="connsiteX3" fmla="*/ 0 w 8353647"/>
              <a:gd name="connsiteY3" fmla="*/ 6244676 h 6244676"/>
            </a:gdLst>
            <a:ahLst/>
            <a:cxnLst>
              <a:cxn ang="0">
                <a:pos x="connsiteX0" y="connsiteY0"/>
              </a:cxn>
              <a:cxn ang="0">
                <a:pos x="connsiteX1" y="connsiteY1"/>
              </a:cxn>
              <a:cxn ang="0">
                <a:pos x="connsiteX2" y="connsiteY2"/>
              </a:cxn>
              <a:cxn ang="0">
                <a:pos x="connsiteX3" y="connsiteY3"/>
              </a:cxn>
            </a:cxnLst>
            <a:rect l="l" t="t" r="r" b="b"/>
            <a:pathLst>
              <a:path w="8353647" h="6244676">
                <a:moveTo>
                  <a:pt x="0" y="0"/>
                </a:moveTo>
                <a:lnTo>
                  <a:pt x="8353647" y="0"/>
                </a:lnTo>
                <a:lnTo>
                  <a:pt x="8353647" y="6244676"/>
                </a:lnTo>
                <a:lnTo>
                  <a:pt x="0" y="6244676"/>
                </a:lnTo>
                <a:close/>
              </a:path>
            </a:pathLst>
          </a:custGeom>
        </p:spPr>
      </p:pic>
      <p:sp>
        <p:nvSpPr>
          <p:cNvPr id="5" name="Textplatzhalter 19">
            <a:extLst>
              <a:ext uri="{FF2B5EF4-FFF2-40B4-BE49-F238E27FC236}">
                <a16:creationId xmlns:a16="http://schemas.microsoft.com/office/drawing/2014/main" id="{5DEEA11A-B014-8913-6631-942AC8FC148B}"/>
              </a:ext>
            </a:extLst>
          </p:cNvPr>
          <p:cNvSpPr>
            <a:spLocks noGrp="1"/>
          </p:cNvSpPr>
          <p:nvPr>
            <p:ph type="body" sz="quarter" idx="11" hasCustomPrompt="1"/>
          </p:nvPr>
        </p:nvSpPr>
        <p:spPr>
          <a:xfrm>
            <a:off x="556650" y="706398"/>
            <a:ext cx="9209813" cy="769441"/>
          </a:xfrm>
          <a:prstGeom prst="rect">
            <a:avLst/>
          </a:prstGeom>
        </p:spPr>
        <p:txBody>
          <a:bodyPr wrap="square" lIns="0" tIns="0" rIns="0" bIns="0">
            <a:spAutoFit/>
          </a:bodyPr>
          <a:lstStyle>
            <a:lvl1pPr marL="0" indent="0">
              <a:lnSpc>
                <a:spcPct val="100000"/>
              </a:lnSpc>
              <a:spcBef>
                <a:spcPts val="0"/>
              </a:spcBef>
              <a:buNone/>
              <a:defRPr sz="5000" b="1" cap="all" spc="100" baseline="0">
                <a:solidFill>
                  <a:schemeClr val="accent3"/>
                </a:solidFill>
                <a:latin typeface="+mn-lt"/>
              </a:defRPr>
            </a:lvl1pPr>
          </a:lstStyle>
          <a:p>
            <a:pPr lvl="0"/>
            <a:r>
              <a:rPr lang="de-DE" dirty="0"/>
              <a:t>Überschrift</a:t>
            </a:r>
          </a:p>
        </p:txBody>
      </p:sp>
      <p:sp>
        <p:nvSpPr>
          <p:cNvPr id="6" name="Foliennummernplatzhalter 5">
            <a:extLst>
              <a:ext uri="{FF2B5EF4-FFF2-40B4-BE49-F238E27FC236}">
                <a16:creationId xmlns:a16="http://schemas.microsoft.com/office/drawing/2014/main" id="{3AB64D3F-29B2-E01C-D036-89001E8DE4FA}"/>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404645838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over 02">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729513CA-39B9-F965-0DA0-7515A12AD16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r="37429"/>
          <a:stretch>
            <a:fillRect/>
          </a:stretch>
        </p:blipFill>
        <p:spPr>
          <a:xfrm>
            <a:off x="3374625" y="2"/>
            <a:ext cx="8817375" cy="6857999"/>
          </a:xfrm>
          <a:custGeom>
            <a:avLst/>
            <a:gdLst>
              <a:gd name="connsiteX0" fmla="*/ 0 w 8817375"/>
              <a:gd name="connsiteY0" fmla="*/ 0 h 6857999"/>
              <a:gd name="connsiteX1" fmla="*/ 8817375 w 8817375"/>
              <a:gd name="connsiteY1" fmla="*/ 0 h 6857999"/>
              <a:gd name="connsiteX2" fmla="*/ 8817375 w 8817375"/>
              <a:gd name="connsiteY2" fmla="*/ 6857999 h 6857999"/>
              <a:gd name="connsiteX3" fmla="*/ 0 w 8817375"/>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8817375" h="6857999">
                <a:moveTo>
                  <a:pt x="0" y="0"/>
                </a:moveTo>
                <a:lnTo>
                  <a:pt x="8817375" y="0"/>
                </a:lnTo>
                <a:lnTo>
                  <a:pt x="8817375" y="6857999"/>
                </a:lnTo>
                <a:lnTo>
                  <a:pt x="0" y="6857999"/>
                </a:lnTo>
                <a:close/>
              </a:path>
            </a:pathLst>
          </a:custGeom>
        </p:spPr>
      </p:pic>
      <p:sp>
        <p:nvSpPr>
          <p:cNvPr id="3" name="Textplatzhalter 17">
            <a:extLst>
              <a:ext uri="{FF2B5EF4-FFF2-40B4-BE49-F238E27FC236}">
                <a16:creationId xmlns:a16="http://schemas.microsoft.com/office/drawing/2014/main" id="{8632B394-57CF-B6A1-396D-D7520BD210D7}"/>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5" name="Textplatzhalter 19">
            <a:extLst>
              <a:ext uri="{FF2B5EF4-FFF2-40B4-BE49-F238E27FC236}">
                <a16:creationId xmlns:a16="http://schemas.microsoft.com/office/drawing/2014/main" id="{5DEEA11A-B014-8913-6631-942AC8FC148B}"/>
              </a:ext>
            </a:extLst>
          </p:cNvPr>
          <p:cNvSpPr>
            <a:spLocks noGrp="1"/>
          </p:cNvSpPr>
          <p:nvPr>
            <p:ph type="body" sz="quarter" idx="11" hasCustomPrompt="1"/>
          </p:nvPr>
        </p:nvSpPr>
        <p:spPr>
          <a:xfrm>
            <a:off x="556650" y="706398"/>
            <a:ext cx="9209813" cy="769441"/>
          </a:xfrm>
          <a:prstGeom prst="rect">
            <a:avLst/>
          </a:prstGeom>
        </p:spPr>
        <p:txBody>
          <a:bodyPr wrap="square" lIns="0" tIns="0" rIns="0" bIns="0">
            <a:spAutoFit/>
          </a:bodyPr>
          <a:lstStyle>
            <a:lvl1pPr marL="0" indent="0">
              <a:lnSpc>
                <a:spcPct val="100000"/>
              </a:lnSpc>
              <a:spcBef>
                <a:spcPts val="0"/>
              </a:spcBef>
              <a:buNone/>
              <a:defRPr sz="5000" b="1" cap="all" spc="100" baseline="0">
                <a:solidFill>
                  <a:schemeClr val="accent3"/>
                </a:solidFill>
                <a:latin typeface="+mn-lt"/>
              </a:defRPr>
            </a:lvl1pPr>
          </a:lstStyle>
          <a:p>
            <a:pPr lvl="0"/>
            <a:r>
              <a:rPr lang="de-DE" dirty="0"/>
              <a:t>Überschrift</a:t>
            </a:r>
          </a:p>
        </p:txBody>
      </p:sp>
      <p:sp>
        <p:nvSpPr>
          <p:cNvPr id="6" name="Foliennummernplatzhalter 5">
            <a:extLst>
              <a:ext uri="{FF2B5EF4-FFF2-40B4-BE49-F238E27FC236}">
                <a16:creationId xmlns:a16="http://schemas.microsoft.com/office/drawing/2014/main" id="{3AB64D3F-29B2-E01C-D036-89001E8DE4FA}"/>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495111661"/>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2" name="Foliennummernplatzhalter 5">
            <a:extLst>
              <a:ext uri="{FF2B5EF4-FFF2-40B4-BE49-F238E27FC236}">
                <a16:creationId xmlns:a16="http://schemas.microsoft.com/office/drawing/2014/main" id="{4E1C5A17-3FBA-FF69-5039-B4DBB6122969}"/>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74210930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3"/>
                </a:solidFill>
                <a:latin typeface="+mn-lt"/>
              </a:defRPr>
            </a:lvl1pPr>
          </a:lstStyle>
          <a:p>
            <a:pPr lvl="0"/>
            <a:r>
              <a:rPr lang="de-DE" dirty="0"/>
              <a:t>Überschrift</a:t>
            </a:r>
          </a:p>
        </p:txBody>
      </p:sp>
      <p:sp>
        <p:nvSpPr>
          <p:cNvPr id="2" name="Foliennummernplatzhalter 5">
            <a:extLst>
              <a:ext uri="{FF2B5EF4-FFF2-40B4-BE49-F238E27FC236}">
                <a16:creationId xmlns:a16="http://schemas.microsoft.com/office/drawing/2014/main" id="{ABD609F9-D1FC-CFD9-8614-8AAE035956A2}"/>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232279090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 Grafik + Inhalt_01">
    <p:spTree>
      <p:nvGrpSpPr>
        <p:cNvPr id="1" name=""/>
        <p:cNvGrpSpPr/>
        <p:nvPr/>
      </p:nvGrpSpPr>
      <p:grpSpPr>
        <a:xfrm>
          <a:off x="0" y="0"/>
          <a:ext cx="0" cy="0"/>
          <a:chOff x="0" y="0"/>
          <a:chExt cx="0" cy="0"/>
        </a:xfrm>
      </p:grpSpPr>
      <p:sp>
        <p:nvSpPr>
          <p:cNvPr id="7" name="Inhaltsplatzhalter 5">
            <a:extLst>
              <a:ext uri="{FF2B5EF4-FFF2-40B4-BE49-F238E27FC236}">
                <a16:creationId xmlns:a16="http://schemas.microsoft.com/office/drawing/2014/main" id="{A45D911B-0D0C-1D88-EC4C-950F851452BC}"/>
              </a:ext>
            </a:extLst>
          </p:cNvPr>
          <p:cNvSpPr>
            <a:spLocks noGrp="1" noRot="1" noMove="1" noResize="1" noEditPoints="1" noAdjustHandles="1" noChangeArrowheads="1" noChangeShapeType="1"/>
          </p:cNvSpPr>
          <p:nvPr>
            <p:ph sz="quarter" idx="11" hasCustomPrompt="1"/>
          </p:nvPr>
        </p:nvSpPr>
        <p:spPr>
          <a:xfrm>
            <a:off x="811358" y="1925782"/>
            <a:ext cx="6493166" cy="4122449"/>
          </a:xfrm>
          <a:prstGeom prst="roundRect">
            <a:avLst>
              <a:gd name="adj" fmla="val 2541"/>
            </a:avLst>
          </a:prstGeom>
          <a:solidFill>
            <a:schemeClr val="bg1">
              <a:lumMod val="95000"/>
            </a:schemeClr>
          </a:solidFill>
        </p:spPr>
        <p:txBody>
          <a:bodyPr anchor="ctr"/>
          <a:lstStyle>
            <a:lvl1pPr marL="0" indent="0" algn="ctr">
              <a:buNone/>
              <a:defRPr sz="1200" spc="100" baseline="0">
                <a:solidFill>
                  <a:schemeClr val="tx1">
                    <a:lumMod val="75000"/>
                    <a:lumOff val="25000"/>
                  </a:schemeClr>
                </a:solidFill>
              </a:defRPr>
            </a:lvl1pPr>
          </a:lstStyle>
          <a:p>
            <a:pPr lvl="0"/>
            <a:r>
              <a:rPr lang="de-DE" dirty="0"/>
              <a:t>Inhalt hier einfügen</a:t>
            </a:r>
          </a:p>
        </p:txBody>
      </p:sp>
      <p:sp>
        <p:nvSpPr>
          <p:cNvPr id="15" name="Textplatzhalter 14">
            <a:extLst>
              <a:ext uri="{FF2B5EF4-FFF2-40B4-BE49-F238E27FC236}">
                <a16:creationId xmlns:a16="http://schemas.microsoft.com/office/drawing/2014/main" id="{6E855C7B-C85A-C41A-07CC-22C75D6BD16C}"/>
              </a:ext>
            </a:extLst>
          </p:cNvPr>
          <p:cNvSpPr>
            <a:spLocks noGrp="1" noRot="1" noMove="1" noResize="1" noEditPoints="1" noAdjustHandles="1" noChangeArrowheads="1" noChangeShapeType="1"/>
          </p:cNvSpPr>
          <p:nvPr>
            <p:ph type="body" sz="quarter" idx="13"/>
          </p:nvPr>
        </p:nvSpPr>
        <p:spPr>
          <a:xfrm rot="10800000">
            <a:off x="6553265" y="1667659"/>
            <a:ext cx="1015235" cy="838012"/>
          </a:xfrm>
          <a:custGeom>
            <a:avLst/>
            <a:gdLst>
              <a:gd name="connsiteX0" fmla="*/ 741388 w 1015235"/>
              <a:gd name="connsiteY0" fmla="*/ 792506 h 838012"/>
              <a:gd name="connsiteX1" fmla="*/ 742053 w 1015235"/>
              <a:gd name="connsiteY1" fmla="*/ 793890 h 838012"/>
              <a:gd name="connsiteX2" fmla="*/ 741117 w 1015235"/>
              <a:gd name="connsiteY2" fmla="*/ 794014 h 838012"/>
              <a:gd name="connsiteX3" fmla="*/ 740479 w 1015235"/>
              <a:gd name="connsiteY3" fmla="*/ 792582 h 838012"/>
              <a:gd name="connsiteX4" fmla="*/ 741388 w 1015235"/>
              <a:gd name="connsiteY4" fmla="*/ 792506 h 838012"/>
              <a:gd name="connsiteX5" fmla="*/ 1006181 w 1015235"/>
              <a:gd name="connsiteY5" fmla="*/ 556377 h 838012"/>
              <a:gd name="connsiteX6" fmla="*/ 1006916 w 1015235"/>
              <a:gd name="connsiteY6" fmla="*/ 556602 h 838012"/>
              <a:gd name="connsiteX7" fmla="*/ 1006478 w 1015235"/>
              <a:gd name="connsiteY7" fmla="*/ 557015 h 838012"/>
              <a:gd name="connsiteX8" fmla="*/ 183006 w 1015235"/>
              <a:gd name="connsiteY8" fmla="*/ 0 h 838012"/>
              <a:gd name="connsiteX9" fmla="*/ 191806 w 1015235"/>
              <a:gd name="connsiteY9" fmla="*/ 1350 h 838012"/>
              <a:gd name="connsiteX10" fmla="*/ 205143 w 1015235"/>
              <a:gd name="connsiteY10" fmla="*/ 4522 h 838012"/>
              <a:gd name="connsiteX11" fmla="*/ 237623 w 1015235"/>
              <a:gd name="connsiteY11" fmla="*/ 28003 h 838012"/>
              <a:gd name="connsiteX12" fmla="*/ 244727 w 1015235"/>
              <a:gd name="connsiteY12" fmla="*/ 32636 h 838012"/>
              <a:gd name="connsiteX13" fmla="*/ 265292 w 1015235"/>
              <a:gd name="connsiteY13" fmla="*/ 45642 h 838012"/>
              <a:gd name="connsiteX14" fmla="*/ 310214 w 1015235"/>
              <a:gd name="connsiteY14" fmla="*/ 75575 h 838012"/>
              <a:gd name="connsiteX15" fmla="*/ 322605 w 1015235"/>
              <a:gd name="connsiteY15" fmla="*/ 83727 h 838012"/>
              <a:gd name="connsiteX16" fmla="*/ 329832 w 1015235"/>
              <a:gd name="connsiteY16" fmla="*/ 88032 h 838012"/>
              <a:gd name="connsiteX17" fmla="*/ 366021 w 1015235"/>
              <a:gd name="connsiteY17" fmla="*/ 107394 h 838012"/>
              <a:gd name="connsiteX18" fmla="*/ 410877 w 1015235"/>
              <a:gd name="connsiteY18" fmla="*/ 133292 h 838012"/>
              <a:gd name="connsiteX19" fmla="*/ 416823 w 1015235"/>
              <a:gd name="connsiteY19" fmla="*/ 134861 h 838012"/>
              <a:gd name="connsiteX20" fmla="*/ 423032 w 1015235"/>
              <a:gd name="connsiteY20" fmla="*/ 135515 h 838012"/>
              <a:gd name="connsiteX21" fmla="*/ 425625 w 1015235"/>
              <a:gd name="connsiteY21" fmla="*/ 141740 h 838012"/>
              <a:gd name="connsiteX22" fmla="*/ 438865 w 1015235"/>
              <a:gd name="connsiteY22" fmla="*/ 145655 h 838012"/>
              <a:gd name="connsiteX23" fmla="*/ 443466 w 1015235"/>
              <a:gd name="connsiteY23" fmla="*/ 147712 h 838012"/>
              <a:gd name="connsiteX24" fmla="*/ 469903 w 1015235"/>
              <a:gd name="connsiteY24" fmla="*/ 164374 h 838012"/>
              <a:gd name="connsiteX25" fmla="*/ 514446 w 1015235"/>
              <a:gd name="connsiteY25" fmla="*/ 188625 h 838012"/>
              <a:gd name="connsiteX26" fmla="*/ 523778 w 1015235"/>
              <a:gd name="connsiteY26" fmla="*/ 193547 h 838012"/>
              <a:gd name="connsiteX27" fmla="*/ 530107 w 1015235"/>
              <a:gd name="connsiteY27" fmla="*/ 197335 h 838012"/>
              <a:gd name="connsiteX28" fmla="*/ 549403 w 1015235"/>
              <a:gd name="connsiteY28" fmla="*/ 207010 h 838012"/>
              <a:gd name="connsiteX29" fmla="*/ 559155 w 1015235"/>
              <a:gd name="connsiteY29" fmla="*/ 210975 h 838012"/>
              <a:gd name="connsiteX30" fmla="*/ 609202 w 1015235"/>
              <a:gd name="connsiteY30" fmla="*/ 238138 h 838012"/>
              <a:gd name="connsiteX31" fmla="*/ 628967 w 1015235"/>
              <a:gd name="connsiteY31" fmla="*/ 249417 h 838012"/>
              <a:gd name="connsiteX32" fmla="*/ 644312 w 1015235"/>
              <a:gd name="connsiteY32" fmla="*/ 258675 h 838012"/>
              <a:gd name="connsiteX33" fmla="*/ 648172 w 1015235"/>
              <a:gd name="connsiteY33" fmla="*/ 260172 h 838012"/>
              <a:gd name="connsiteX34" fmla="*/ 661803 w 1015235"/>
              <a:gd name="connsiteY34" fmla="*/ 267442 h 838012"/>
              <a:gd name="connsiteX35" fmla="*/ 665840 w 1015235"/>
              <a:gd name="connsiteY35" fmla="*/ 270705 h 838012"/>
              <a:gd name="connsiteX36" fmla="*/ 686270 w 1015235"/>
              <a:gd name="connsiteY36" fmla="*/ 280835 h 838012"/>
              <a:gd name="connsiteX37" fmla="*/ 711607 w 1015235"/>
              <a:gd name="connsiteY37" fmla="*/ 296063 h 838012"/>
              <a:gd name="connsiteX38" fmla="*/ 755771 w 1015235"/>
              <a:gd name="connsiteY38" fmla="*/ 323159 h 838012"/>
              <a:gd name="connsiteX39" fmla="*/ 794417 w 1015235"/>
              <a:gd name="connsiteY39" fmla="*/ 347137 h 838012"/>
              <a:gd name="connsiteX40" fmla="*/ 814057 w 1015235"/>
              <a:gd name="connsiteY40" fmla="*/ 359209 h 838012"/>
              <a:gd name="connsiteX41" fmla="*/ 828310 w 1015235"/>
              <a:gd name="connsiteY41" fmla="*/ 368170 h 838012"/>
              <a:gd name="connsiteX42" fmla="*/ 857013 w 1015235"/>
              <a:gd name="connsiteY42" fmla="*/ 387939 h 838012"/>
              <a:gd name="connsiteX43" fmla="*/ 881568 w 1015235"/>
              <a:gd name="connsiteY43" fmla="*/ 403714 h 838012"/>
              <a:gd name="connsiteX44" fmla="*/ 887479 w 1015235"/>
              <a:gd name="connsiteY44" fmla="*/ 407993 h 838012"/>
              <a:gd name="connsiteX45" fmla="*/ 899218 w 1015235"/>
              <a:gd name="connsiteY45" fmla="*/ 417966 h 838012"/>
              <a:gd name="connsiteX46" fmla="*/ 906365 w 1015235"/>
              <a:gd name="connsiteY46" fmla="*/ 424024 h 838012"/>
              <a:gd name="connsiteX47" fmla="*/ 931447 w 1015235"/>
              <a:gd name="connsiteY47" fmla="*/ 443034 h 838012"/>
              <a:gd name="connsiteX48" fmla="*/ 945778 w 1015235"/>
              <a:gd name="connsiteY48" fmla="*/ 451975 h 838012"/>
              <a:gd name="connsiteX49" fmla="*/ 957120 w 1015235"/>
              <a:gd name="connsiteY49" fmla="*/ 461252 h 838012"/>
              <a:gd name="connsiteX50" fmla="*/ 979011 w 1015235"/>
              <a:gd name="connsiteY50" fmla="*/ 479221 h 838012"/>
              <a:gd name="connsiteX51" fmla="*/ 995949 w 1015235"/>
              <a:gd name="connsiteY51" fmla="*/ 494593 h 838012"/>
              <a:gd name="connsiteX52" fmla="*/ 999935 w 1015235"/>
              <a:gd name="connsiteY52" fmla="*/ 500824 h 838012"/>
              <a:gd name="connsiteX53" fmla="*/ 1011112 w 1015235"/>
              <a:gd name="connsiteY53" fmla="*/ 507277 h 838012"/>
              <a:gd name="connsiteX54" fmla="*/ 1014577 w 1015235"/>
              <a:gd name="connsiteY54" fmla="*/ 529391 h 838012"/>
              <a:gd name="connsiteX55" fmla="*/ 1011570 w 1015235"/>
              <a:gd name="connsiteY55" fmla="*/ 534713 h 838012"/>
              <a:gd name="connsiteX56" fmla="*/ 1008224 w 1015235"/>
              <a:gd name="connsiteY56" fmla="*/ 542240 h 838012"/>
              <a:gd name="connsiteX57" fmla="*/ 1005829 w 1015235"/>
              <a:gd name="connsiteY57" fmla="*/ 545119 h 838012"/>
              <a:gd name="connsiteX58" fmla="*/ 1002537 w 1015235"/>
              <a:gd name="connsiteY58" fmla="*/ 548746 h 838012"/>
              <a:gd name="connsiteX59" fmla="*/ 988704 w 1015235"/>
              <a:gd name="connsiteY59" fmla="*/ 552081 h 838012"/>
              <a:gd name="connsiteX60" fmla="*/ 984496 w 1015235"/>
              <a:gd name="connsiteY60" fmla="*/ 549919 h 838012"/>
              <a:gd name="connsiteX61" fmla="*/ 982477 w 1015235"/>
              <a:gd name="connsiteY61" fmla="*/ 559408 h 838012"/>
              <a:gd name="connsiteX62" fmla="*/ 972779 w 1015235"/>
              <a:gd name="connsiteY62" fmla="*/ 566064 h 838012"/>
              <a:gd name="connsiteX63" fmla="*/ 970667 w 1015235"/>
              <a:gd name="connsiteY63" fmla="*/ 584358 h 838012"/>
              <a:gd name="connsiteX64" fmla="*/ 953092 w 1015235"/>
              <a:gd name="connsiteY64" fmla="*/ 595324 h 838012"/>
              <a:gd name="connsiteX65" fmla="*/ 952848 w 1015235"/>
              <a:gd name="connsiteY65" fmla="*/ 614762 h 838012"/>
              <a:gd name="connsiteX66" fmla="*/ 944104 w 1015235"/>
              <a:gd name="connsiteY66" fmla="*/ 616307 h 838012"/>
              <a:gd name="connsiteX67" fmla="*/ 944798 w 1015235"/>
              <a:gd name="connsiteY67" fmla="*/ 623634 h 838012"/>
              <a:gd name="connsiteX68" fmla="*/ 931268 w 1015235"/>
              <a:gd name="connsiteY68" fmla="*/ 623216 h 838012"/>
              <a:gd name="connsiteX69" fmla="*/ 928702 w 1015235"/>
              <a:gd name="connsiteY69" fmla="*/ 628927 h 838012"/>
              <a:gd name="connsiteX70" fmla="*/ 924212 w 1015235"/>
              <a:gd name="connsiteY70" fmla="*/ 633594 h 838012"/>
              <a:gd name="connsiteX71" fmla="*/ 936591 w 1015235"/>
              <a:gd name="connsiteY71" fmla="*/ 654327 h 838012"/>
              <a:gd name="connsiteX72" fmla="*/ 924668 w 1015235"/>
              <a:gd name="connsiteY72" fmla="*/ 673018 h 838012"/>
              <a:gd name="connsiteX73" fmla="*/ 919436 w 1015235"/>
              <a:gd name="connsiteY73" fmla="*/ 675857 h 838012"/>
              <a:gd name="connsiteX74" fmla="*/ 917439 w 1015235"/>
              <a:gd name="connsiteY74" fmla="*/ 676436 h 838012"/>
              <a:gd name="connsiteX75" fmla="*/ 914321 w 1015235"/>
              <a:gd name="connsiteY75" fmla="*/ 681030 h 838012"/>
              <a:gd name="connsiteX76" fmla="*/ 910882 w 1015235"/>
              <a:gd name="connsiteY76" fmla="*/ 684105 h 838012"/>
              <a:gd name="connsiteX77" fmla="*/ 910040 w 1015235"/>
              <a:gd name="connsiteY77" fmla="*/ 688215 h 838012"/>
              <a:gd name="connsiteX78" fmla="*/ 906508 w 1015235"/>
              <a:gd name="connsiteY78" fmla="*/ 694102 h 838012"/>
              <a:gd name="connsiteX79" fmla="*/ 901005 w 1015235"/>
              <a:gd name="connsiteY79" fmla="*/ 702711 h 838012"/>
              <a:gd name="connsiteX80" fmla="*/ 902183 w 1015235"/>
              <a:gd name="connsiteY80" fmla="*/ 710119 h 838012"/>
              <a:gd name="connsiteX81" fmla="*/ 881064 w 1015235"/>
              <a:gd name="connsiteY81" fmla="*/ 741282 h 838012"/>
              <a:gd name="connsiteX82" fmla="*/ 885851 w 1015235"/>
              <a:gd name="connsiteY82" fmla="*/ 749240 h 838012"/>
              <a:gd name="connsiteX83" fmla="*/ 883466 w 1015235"/>
              <a:gd name="connsiteY83" fmla="*/ 751526 h 838012"/>
              <a:gd name="connsiteX84" fmla="*/ 872593 w 1015235"/>
              <a:gd name="connsiteY84" fmla="*/ 751576 h 838012"/>
              <a:gd name="connsiteX85" fmla="*/ 871489 w 1015235"/>
              <a:gd name="connsiteY85" fmla="*/ 759597 h 838012"/>
              <a:gd name="connsiteX86" fmla="*/ 866133 w 1015235"/>
              <a:gd name="connsiteY86" fmla="*/ 761498 h 838012"/>
              <a:gd name="connsiteX87" fmla="*/ 862781 w 1015235"/>
              <a:gd name="connsiteY87" fmla="*/ 772950 h 838012"/>
              <a:gd name="connsiteX88" fmla="*/ 857338 w 1015235"/>
              <a:gd name="connsiteY88" fmla="*/ 775002 h 838012"/>
              <a:gd name="connsiteX89" fmla="*/ 849533 w 1015235"/>
              <a:gd name="connsiteY89" fmla="*/ 779420 h 838012"/>
              <a:gd name="connsiteX90" fmla="*/ 851010 w 1015235"/>
              <a:gd name="connsiteY90" fmla="*/ 791263 h 838012"/>
              <a:gd name="connsiteX91" fmla="*/ 841646 w 1015235"/>
              <a:gd name="connsiteY91" fmla="*/ 803105 h 838012"/>
              <a:gd name="connsiteX92" fmla="*/ 831067 w 1015235"/>
              <a:gd name="connsiteY92" fmla="*/ 817510 h 838012"/>
              <a:gd name="connsiteX93" fmla="*/ 821434 w 1015235"/>
              <a:gd name="connsiteY93" fmla="*/ 829930 h 838012"/>
              <a:gd name="connsiteX94" fmla="*/ 814140 w 1015235"/>
              <a:gd name="connsiteY94" fmla="*/ 830581 h 838012"/>
              <a:gd name="connsiteX95" fmla="*/ 810516 w 1015235"/>
              <a:gd name="connsiteY95" fmla="*/ 838012 h 838012"/>
              <a:gd name="connsiteX96" fmla="*/ 807543 w 1015235"/>
              <a:gd name="connsiteY96" fmla="*/ 837628 h 838012"/>
              <a:gd name="connsiteX97" fmla="*/ 782611 w 1015235"/>
              <a:gd name="connsiteY97" fmla="*/ 821701 h 838012"/>
              <a:gd name="connsiteX98" fmla="*/ 777453 w 1015235"/>
              <a:gd name="connsiteY98" fmla="*/ 818191 h 838012"/>
              <a:gd name="connsiteX99" fmla="*/ 747218 w 1015235"/>
              <a:gd name="connsiteY99" fmla="*/ 800268 h 838012"/>
              <a:gd name="connsiteX100" fmla="*/ 748285 w 1015235"/>
              <a:gd name="connsiteY100" fmla="*/ 798420 h 838012"/>
              <a:gd name="connsiteX101" fmla="*/ 761657 w 1015235"/>
              <a:gd name="connsiteY101" fmla="*/ 806141 h 838012"/>
              <a:gd name="connsiteX102" fmla="*/ 745119 w 1015235"/>
              <a:gd name="connsiteY102" fmla="*/ 789732 h 838012"/>
              <a:gd name="connsiteX103" fmla="*/ 742193 w 1015235"/>
              <a:gd name="connsiteY103" fmla="*/ 787310 h 838012"/>
              <a:gd name="connsiteX104" fmla="*/ 736302 w 1015235"/>
              <a:gd name="connsiteY104" fmla="*/ 783110 h 838012"/>
              <a:gd name="connsiteX105" fmla="*/ 732511 w 1015235"/>
              <a:gd name="connsiteY105" fmla="*/ 783453 h 838012"/>
              <a:gd name="connsiteX106" fmla="*/ 732896 w 1015235"/>
              <a:gd name="connsiteY106" fmla="*/ 788204 h 838012"/>
              <a:gd name="connsiteX107" fmla="*/ 726746 w 1015235"/>
              <a:gd name="connsiteY107" fmla="*/ 792977 h 838012"/>
              <a:gd name="connsiteX108" fmla="*/ 730360 w 1015235"/>
              <a:gd name="connsiteY108" fmla="*/ 796397 h 838012"/>
              <a:gd name="connsiteX109" fmla="*/ 728660 w 1015235"/>
              <a:gd name="connsiteY109" fmla="*/ 796346 h 838012"/>
              <a:gd name="connsiteX110" fmla="*/ 718581 w 1015235"/>
              <a:gd name="connsiteY110" fmla="*/ 790527 h 838012"/>
              <a:gd name="connsiteX111" fmla="*/ 709067 w 1015235"/>
              <a:gd name="connsiteY111" fmla="*/ 786034 h 838012"/>
              <a:gd name="connsiteX112" fmla="*/ 689650 w 1015235"/>
              <a:gd name="connsiteY112" fmla="*/ 777953 h 838012"/>
              <a:gd name="connsiteX113" fmla="*/ 664227 w 1015235"/>
              <a:gd name="connsiteY113" fmla="*/ 762876 h 838012"/>
              <a:gd name="connsiteX114" fmla="*/ 600845 w 1015235"/>
              <a:gd name="connsiteY114" fmla="*/ 720555 h 838012"/>
              <a:gd name="connsiteX115" fmla="*/ 540838 w 1015235"/>
              <a:gd name="connsiteY115" fmla="*/ 680915 h 838012"/>
              <a:gd name="connsiteX116" fmla="*/ 461493 w 1015235"/>
              <a:gd name="connsiteY116" fmla="*/ 630177 h 838012"/>
              <a:gd name="connsiteX117" fmla="*/ 415944 w 1015235"/>
              <a:gd name="connsiteY117" fmla="*/ 601215 h 838012"/>
              <a:gd name="connsiteX118" fmla="*/ 391242 w 1015235"/>
              <a:gd name="connsiteY118" fmla="*/ 584889 h 838012"/>
              <a:gd name="connsiteX119" fmla="*/ 374602 w 1015235"/>
              <a:gd name="connsiteY119" fmla="*/ 574416 h 838012"/>
              <a:gd name="connsiteX120" fmla="*/ 363835 w 1015235"/>
              <a:gd name="connsiteY120" fmla="*/ 566334 h 838012"/>
              <a:gd name="connsiteX121" fmla="*/ 351729 w 1015235"/>
              <a:gd name="connsiteY121" fmla="*/ 559878 h 838012"/>
              <a:gd name="connsiteX122" fmla="*/ 346126 w 1015235"/>
              <a:gd name="connsiteY122" fmla="*/ 555178 h 838012"/>
              <a:gd name="connsiteX123" fmla="*/ 332189 w 1015235"/>
              <a:gd name="connsiteY123" fmla="*/ 546133 h 838012"/>
              <a:gd name="connsiteX124" fmla="*/ 314904 w 1015235"/>
              <a:gd name="connsiteY124" fmla="*/ 536086 h 838012"/>
              <a:gd name="connsiteX125" fmla="*/ 307175 w 1015235"/>
              <a:gd name="connsiteY125" fmla="*/ 527695 h 838012"/>
              <a:gd name="connsiteX126" fmla="*/ 297264 w 1015235"/>
              <a:gd name="connsiteY126" fmla="*/ 525502 h 838012"/>
              <a:gd name="connsiteX127" fmla="*/ 255186 w 1015235"/>
              <a:gd name="connsiteY127" fmla="*/ 497212 h 838012"/>
              <a:gd name="connsiteX128" fmla="*/ 227826 w 1015235"/>
              <a:gd name="connsiteY128" fmla="*/ 479152 h 838012"/>
              <a:gd name="connsiteX129" fmla="*/ 185166 w 1015235"/>
              <a:gd name="connsiteY129" fmla="*/ 451525 h 838012"/>
              <a:gd name="connsiteX130" fmla="*/ 140710 w 1015235"/>
              <a:gd name="connsiteY130" fmla="*/ 422861 h 838012"/>
              <a:gd name="connsiteX131" fmla="*/ 97956 w 1015235"/>
              <a:gd name="connsiteY131" fmla="*/ 395513 h 838012"/>
              <a:gd name="connsiteX132" fmla="*/ 60286 w 1015235"/>
              <a:gd name="connsiteY132" fmla="*/ 372034 h 838012"/>
              <a:gd name="connsiteX133" fmla="*/ 38795 w 1015235"/>
              <a:gd name="connsiteY133" fmla="*/ 356828 h 838012"/>
              <a:gd name="connsiteX134" fmla="*/ 12334 w 1015235"/>
              <a:gd name="connsiteY134" fmla="*/ 337555 h 838012"/>
              <a:gd name="connsiteX135" fmla="*/ 0 w 1015235"/>
              <a:gd name="connsiteY135" fmla="*/ 328036 h 838012"/>
              <a:gd name="connsiteX136" fmla="*/ 5940 w 1015235"/>
              <a:gd name="connsiteY136" fmla="*/ 323740 h 838012"/>
              <a:gd name="connsiteX137" fmla="*/ 7935 w 1015235"/>
              <a:gd name="connsiteY137" fmla="*/ 316367 h 838012"/>
              <a:gd name="connsiteX138" fmla="*/ 3579 w 1015235"/>
              <a:gd name="connsiteY138" fmla="*/ 311121 h 838012"/>
              <a:gd name="connsiteX139" fmla="*/ 12086 w 1015235"/>
              <a:gd name="connsiteY139" fmla="*/ 296387 h 838012"/>
              <a:gd name="connsiteX140" fmla="*/ 5541 w 1015235"/>
              <a:gd name="connsiteY140" fmla="*/ 279953 h 838012"/>
              <a:gd name="connsiteX141" fmla="*/ 4941 w 1015235"/>
              <a:gd name="connsiteY141" fmla="*/ 277076 h 838012"/>
              <a:gd name="connsiteX142" fmla="*/ 4588 w 1015235"/>
              <a:gd name="connsiteY142" fmla="*/ 262821 h 838012"/>
              <a:gd name="connsiteX143" fmla="*/ 3779 w 1015235"/>
              <a:gd name="connsiteY143" fmla="*/ 257425 h 838012"/>
              <a:gd name="connsiteX144" fmla="*/ 11861 w 1015235"/>
              <a:gd name="connsiteY144" fmla="*/ 256563 h 838012"/>
              <a:gd name="connsiteX145" fmla="*/ 15959 w 1015235"/>
              <a:gd name="connsiteY145" fmla="*/ 250271 h 838012"/>
              <a:gd name="connsiteX146" fmla="*/ 41720 w 1015235"/>
              <a:gd name="connsiteY146" fmla="*/ 257619 h 838012"/>
              <a:gd name="connsiteX147" fmla="*/ 39651 w 1015235"/>
              <a:gd name="connsiteY147" fmla="*/ 245302 h 838012"/>
              <a:gd name="connsiteX148" fmla="*/ 15731 w 1015235"/>
              <a:gd name="connsiteY148" fmla="*/ 225431 h 838012"/>
              <a:gd name="connsiteX149" fmla="*/ 13639 w 1015235"/>
              <a:gd name="connsiteY149" fmla="*/ 214766 h 838012"/>
              <a:gd name="connsiteX150" fmla="*/ 7754 w 1015235"/>
              <a:gd name="connsiteY150" fmla="*/ 207906 h 838012"/>
              <a:gd name="connsiteX151" fmla="*/ 9976 w 1015235"/>
              <a:gd name="connsiteY151" fmla="*/ 206591 h 838012"/>
              <a:gd name="connsiteX152" fmla="*/ 18082 w 1015235"/>
              <a:gd name="connsiteY152" fmla="*/ 206609 h 838012"/>
              <a:gd name="connsiteX153" fmla="*/ 24063 w 1015235"/>
              <a:gd name="connsiteY153" fmla="*/ 196942 h 838012"/>
              <a:gd name="connsiteX154" fmla="*/ 23413 w 1015235"/>
              <a:gd name="connsiteY154" fmla="*/ 186776 h 838012"/>
              <a:gd name="connsiteX155" fmla="*/ 23248 w 1015235"/>
              <a:gd name="connsiteY155" fmla="*/ 173694 h 838012"/>
              <a:gd name="connsiteX156" fmla="*/ 24094 w 1015235"/>
              <a:gd name="connsiteY156" fmla="*/ 171652 h 838012"/>
              <a:gd name="connsiteX157" fmla="*/ 38390 w 1015235"/>
              <a:gd name="connsiteY157" fmla="*/ 157263 h 838012"/>
              <a:gd name="connsiteX158" fmla="*/ 39448 w 1015235"/>
              <a:gd name="connsiteY158" fmla="*/ 157273 h 838012"/>
              <a:gd name="connsiteX159" fmla="*/ 55546 w 1015235"/>
              <a:gd name="connsiteY159" fmla="*/ 167301 h 838012"/>
              <a:gd name="connsiteX160" fmla="*/ 72525 w 1015235"/>
              <a:gd name="connsiteY160" fmla="*/ 175571 h 838012"/>
              <a:gd name="connsiteX161" fmla="*/ 78252 w 1015235"/>
              <a:gd name="connsiteY161" fmla="*/ 178212 h 838012"/>
              <a:gd name="connsiteX162" fmla="*/ 87556 w 1015235"/>
              <a:gd name="connsiteY162" fmla="*/ 183185 h 838012"/>
              <a:gd name="connsiteX163" fmla="*/ 117942 w 1015235"/>
              <a:gd name="connsiteY163" fmla="*/ 200728 h 838012"/>
              <a:gd name="connsiteX164" fmla="*/ 115318 w 1015235"/>
              <a:gd name="connsiteY164" fmla="*/ 198013 h 838012"/>
              <a:gd name="connsiteX165" fmla="*/ 112574 w 1015235"/>
              <a:gd name="connsiteY165" fmla="*/ 189170 h 838012"/>
              <a:gd name="connsiteX166" fmla="*/ 104106 w 1015235"/>
              <a:gd name="connsiteY166" fmla="*/ 182749 h 838012"/>
              <a:gd name="connsiteX167" fmla="*/ 104183 w 1015235"/>
              <a:gd name="connsiteY167" fmla="*/ 175934 h 838012"/>
              <a:gd name="connsiteX168" fmla="*/ 64018 w 1015235"/>
              <a:gd name="connsiteY168" fmla="*/ 143754 h 838012"/>
              <a:gd name="connsiteX169" fmla="*/ 64881 w 1015235"/>
              <a:gd name="connsiteY169" fmla="*/ 135461 h 838012"/>
              <a:gd name="connsiteX170" fmla="*/ 64904 w 1015235"/>
              <a:gd name="connsiteY170" fmla="*/ 135075 h 838012"/>
              <a:gd name="connsiteX171" fmla="*/ 60795 w 1015235"/>
              <a:gd name="connsiteY171" fmla="*/ 129173 h 838012"/>
              <a:gd name="connsiteX172" fmla="*/ 62831 w 1015235"/>
              <a:gd name="connsiteY172" fmla="*/ 127950 h 838012"/>
              <a:gd name="connsiteX173" fmla="*/ 75349 w 1015235"/>
              <a:gd name="connsiteY173" fmla="*/ 131847 h 838012"/>
              <a:gd name="connsiteX174" fmla="*/ 80856 w 1015235"/>
              <a:gd name="connsiteY174" fmla="*/ 127035 h 838012"/>
              <a:gd name="connsiteX175" fmla="*/ 84322 w 1015235"/>
              <a:gd name="connsiteY175" fmla="*/ 128636 h 838012"/>
              <a:gd name="connsiteX176" fmla="*/ 112535 w 1015235"/>
              <a:gd name="connsiteY176" fmla="*/ 149254 h 838012"/>
              <a:gd name="connsiteX177" fmla="*/ 116952 w 1015235"/>
              <a:gd name="connsiteY177" fmla="*/ 152204 h 838012"/>
              <a:gd name="connsiteX178" fmla="*/ 123926 w 1015235"/>
              <a:gd name="connsiteY178" fmla="*/ 151302 h 838012"/>
              <a:gd name="connsiteX179" fmla="*/ 124721 w 1015235"/>
              <a:gd name="connsiteY179" fmla="*/ 144968 h 838012"/>
              <a:gd name="connsiteX180" fmla="*/ 112167 w 1015235"/>
              <a:gd name="connsiteY180" fmla="*/ 135256 h 838012"/>
              <a:gd name="connsiteX181" fmla="*/ 109551 w 1015235"/>
              <a:gd name="connsiteY181" fmla="*/ 129416 h 838012"/>
              <a:gd name="connsiteX182" fmla="*/ 121624 w 1015235"/>
              <a:gd name="connsiteY182" fmla="*/ 133856 h 838012"/>
              <a:gd name="connsiteX183" fmla="*/ 121039 w 1015235"/>
              <a:gd name="connsiteY183" fmla="*/ 124728 h 838012"/>
              <a:gd name="connsiteX184" fmla="*/ 135340 w 1015235"/>
              <a:gd name="connsiteY184" fmla="*/ 132452 h 838012"/>
              <a:gd name="connsiteX185" fmla="*/ 138090 w 1015235"/>
              <a:gd name="connsiteY185" fmla="*/ 122850 h 838012"/>
              <a:gd name="connsiteX186" fmla="*/ 130624 w 1015235"/>
              <a:gd name="connsiteY186" fmla="*/ 111814 h 838012"/>
              <a:gd name="connsiteX187" fmla="*/ 149480 w 1015235"/>
              <a:gd name="connsiteY187" fmla="*/ 119370 h 838012"/>
              <a:gd name="connsiteX188" fmla="*/ 193368 w 1015235"/>
              <a:gd name="connsiteY188" fmla="*/ 148904 h 838012"/>
              <a:gd name="connsiteX189" fmla="*/ 229735 w 1015235"/>
              <a:gd name="connsiteY189" fmla="*/ 172564 h 838012"/>
              <a:gd name="connsiteX190" fmla="*/ 237058 w 1015235"/>
              <a:gd name="connsiteY190" fmla="*/ 176127 h 838012"/>
              <a:gd name="connsiteX191" fmla="*/ 235116 w 1015235"/>
              <a:gd name="connsiteY191" fmla="*/ 171542 h 838012"/>
              <a:gd name="connsiteX192" fmla="*/ 203492 w 1015235"/>
              <a:gd name="connsiteY192" fmla="*/ 148422 h 838012"/>
              <a:gd name="connsiteX193" fmla="*/ 161015 w 1015235"/>
              <a:gd name="connsiteY193" fmla="*/ 116905 h 838012"/>
              <a:gd name="connsiteX194" fmla="*/ 143626 w 1015235"/>
              <a:gd name="connsiteY194" fmla="*/ 101738 h 838012"/>
              <a:gd name="connsiteX195" fmla="*/ 132322 w 1015235"/>
              <a:gd name="connsiteY195" fmla="*/ 92281 h 838012"/>
              <a:gd name="connsiteX196" fmla="*/ 126570 w 1015235"/>
              <a:gd name="connsiteY196" fmla="*/ 87494 h 838012"/>
              <a:gd name="connsiteX197" fmla="*/ 133895 w 1015235"/>
              <a:gd name="connsiteY197" fmla="*/ 83333 h 838012"/>
              <a:gd name="connsiteX198" fmla="*/ 140453 w 1015235"/>
              <a:gd name="connsiteY198" fmla="*/ 79926 h 838012"/>
              <a:gd name="connsiteX199" fmla="*/ 144392 w 1015235"/>
              <a:gd name="connsiteY199" fmla="*/ 78404 h 838012"/>
              <a:gd name="connsiteX200" fmla="*/ 149673 w 1015235"/>
              <a:gd name="connsiteY200" fmla="*/ 65801 h 838012"/>
              <a:gd name="connsiteX201" fmla="*/ 148421 w 1015235"/>
              <a:gd name="connsiteY201" fmla="*/ 63014 h 838012"/>
              <a:gd name="connsiteX202" fmla="*/ 159053 w 1015235"/>
              <a:gd name="connsiteY202" fmla="*/ 40449 h 838012"/>
              <a:gd name="connsiteX203" fmla="*/ 155225 w 1015235"/>
              <a:gd name="connsiteY203" fmla="*/ 23920 h 838012"/>
              <a:gd name="connsiteX204" fmla="*/ 169033 w 1015235"/>
              <a:gd name="connsiteY204" fmla="*/ 32958 h 838012"/>
              <a:gd name="connsiteX205" fmla="*/ 180674 w 1015235"/>
              <a:gd name="connsiteY205" fmla="*/ 36880 h 838012"/>
              <a:gd name="connsiteX206" fmla="*/ 187271 w 1015235"/>
              <a:gd name="connsiteY206" fmla="*/ 39625 h 838012"/>
              <a:gd name="connsiteX207" fmla="*/ 255272 w 1015235"/>
              <a:gd name="connsiteY207" fmla="*/ 84546 h 838012"/>
              <a:gd name="connsiteX208" fmla="*/ 282679 w 1015235"/>
              <a:gd name="connsiteY208" fmla="*/ 100568 h 838012"/>
              <a:gd name="connsiteX209" fmla="*/ 291371 w 1015235"/>
              <a:gd name="connsiteY209" fmla="*/ 101991 h 838012"/>
              <a:gd name="connsiteX210" fmla="*/ 287962 w 1015235"/>
              <a:gd name="connsiteY210" fmla="*/ 97292 h 838012"/>
              <a:gd name="connsiteX211" fmla="*/ 265453 w 1015235"/>
              <a:gd name="connsiteY211" fmla="*/ 81433 h 838012"/>
              <a:gd name="connsiteX212" fmla="*/ 236677 w 1015235"/>
              <a:gd name="connsiteY212" fmla="*/ 62021 h 838012"/>
              <a:gd name="connsiteX213" fmla="*/ 236545 w 1015235"/>
              <a:gd name="connsiteY213" fmla="*/ 55219 h 838012"/>
              <a:gd name="connsiteX214" fmla="*/ 220093 w 1015235"/>
              <a:gd name="connsiteY214" fmla="*/ 41658 h 838012"/>
              <a:gd name="connsiteX215" fmla="*/ 201527 w 1015235"/>
              <a:gd name="connsiteY215" fmla="*/ 27609 h 838012"/>
              <a:gd name="connsiteX216" fmla="*/ 184116 w 1015235"/>
              <a:gd name="connsiteY216" fmla="*/ 14094 h 838012"/>
              <a:gd name="connsiteX217" fmla="*/ 183006 w 1015235"/>
              <a:gd name="connsiteY217" fmla="*/ 0 h 83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1015235" h="838012">
                <a:moveTo>
                  <a:pt x="741388" y="792506"/>
                </a:moveTo>
                <a:cubicBezTo>
                  <a:pt x="741701" y="792887"/>
                  <a:pt x="741848" y="793438"/>
                  <a:pt x="742053" y="793890"/>
                </a:cubicBezTo>
                <a:cubicBezTo>
                  <a:pt x="741738" y="793974"/>
                  <a:pt x="741402" y="793980"/>
                  <a:pt x="741117" y="794014"/>
                </a:cubicBezTo>
                <a:cubicBezTo>
                  <a:pt x="740911" y="793563"/>
                  <a:pt x="740684" y="793033"/>
                  <a:pt x="740479" y="792582"/>
                </a:cubicBezTo>
                <a:cubicBezTo>
                  <a:pt x="740815" y="792576"/>
                  <a:pt x="741267" y="792370"/>
                  <a:pt x="741388" y="792506"/>
                </a:cubicBezTo>
                <a:close/>
                <a:moveTo>
                  <a:pt x="1006181" y="556377"/>
                </a:moveTo>
                <a:lnTo>
                  <a:pt x="1006916" y="556602"/>
                </a:lnTo>
                <a:lnTo>
                  <a:pt x="1006478" y="557015"/>
                </a:lnTo>
                <a:close/>
                <a:moveTo>
                  <a:pt x="183006" y="0"/>
                </a:moveTo>
                <a:cubicBezTo>
                  <a:pt x="185891" y="533"/>
                  <a:pt x="189570" y="2457"/>
                  <a:pt x="191806" y="1350"/>
                </a:cubicBezTo>
                <a:cubicBezTo>
                  <a:pt x="197545" y="-1330"/>
                  <a:pt x="201109" y="2060"/>
                  <a:pt x="205143" y="4522"/>
                </a:cubicBezTo>
                <a:cubicBezTo>
                  <a:pt x="216653" y="11434"/>
                  <a:pt x="227379" y="19358"/>
                  <a:pt x="237623" y="28003"/>
                </a:cubicBezTo>
                <a:cubicBezTo>
                  <a:pt x="239759" y="29835"/>
                  <a:pt x="242340" y="31125"/>
                  <a:pt x="244727" y="32636"/>
                </a:cubicBezTo>
                <a:cubicBezTo>
                  <a:pt x="251589" y="36999"/>
                  <a:pt x="258488" y="41182"/>
                  <a:pt x="265292" y="45642"/>
                </a:cubicBezTo>
                <a:cubicBezTo>
                  <a:pt x="280312" y="55580"/>
                  <a:pt x="295224" y="65587"/>
                  <a:pt x="310214" y="75575"/>
                </a:cubicBezTo>
                <a:cubicBezTo>
                  <a:pt x="314333" y="78352"/>
                  <a:pt x="318430" y="81050"/>
                  <a:pt x="322605" y="83727"/>
                </a:cubicBezTo>
                <a:cubicBezTo>
                  <a:pt x="324992" y="85238"/>
                  <a:pt x="327219" y="87257"/>
                  <a:pt x="329832" y="88032"/>
                </a:cubicBezTo>
                <a:cubicBezTo>
                  <a:pt x="343280" y="91934"/>
                  <a:pt x="354022" y="100867"/>
                  <a:pt x="366021" y="107394"/>
                </a:cubicBezTo>
                <a:cubicBezTo>
                  <a:pt x="381191" y="115687"/>
                  <a:pt x="395958" y="124678"/>
                  <a:pt x="410877" y="133292"/>
                </a:cubicBezTo>
                <a:cubicBezTo>
                  <a:pt x="412574" y="134271"/>
                  <a:pt x="414781" y="134481"/>
                  <a:pt x="416823" y="134861"/>
                </a:cubicBezTo>
                <a:cubicBezTo>
                  <a:pt x="418895" y="135191"/>
                  <a:pt x="421105" y="134935"/>
                  <a:pt x="423032" y="135515"/>
                </a:cubicBezTo>
                <a:cubicBezTo>
                  <a:pt x="425816" y="136456"/>
                  <a:pt x="428596" y="137862"/>
                  <a:pt x="425625" y="141740"/>
                </a:cubicBezTo>
                <a:cubicBezTo>
                  <a:pt x="430268" y="143955"/>
                  <a:pt x="433661" y="147179"/>
                  <a:pt x="438865" y="145655"/>
                </a:cubicBezTo>
                <a:cubicBezTo>
                  <a:pt x="440125" y="145317"/>
                  <a:pt x="442163" y="146626"/>
                  <a:pt x="443466" y="147712"/>
                </a:cubicBezTo>
                <a:cubicBezTo>
                  <a:pt x="451524" y="154495"/>
                  <a:pt x="461103" y="158761"/>
                  <a:pt x="469903" y="164374"/>
                </a:cubicBezTo>
                <a:cubicBezTo>
                  <a:pt x="484227" y="173443"/>
                  <a:pt x="500238" y="179357"/>
                  <a:pt x="514446" y="188625"/>
                </a:cubicBezTo>
                <a:cubicBezTo>
                  <a:pt x="517403" y="190532"/>
                  <a:pt x="520677" y="191891"/>
                  <a:pt x="523778" y="193547"/>
                </a:cubicBezTo>
                <a:cubicBezTo>
                  <a:pt x="525953" y="194737"/>
                  <a:pt x="528694" y="195520"/>
                  <a:pt x="530107" y="197335"/>
                </a:cubicBezTo>
                <a:cubicBezTo>
                  <a:pt x="535123" y="203627"/>
                  <a:pt x="542033" y="205486"/>
                  <a:pt x="549403" y="207010"/>
                </a:cubicBezTo>
                <a:cubicBezTo>
                  <a:pt x="552795" y="207703"/>
                  <a:pt x="556024" y="209368"/>
                  <a:pt x="559155" y="210975"/>
                </a:cubicBezTo>
                <a:cubicBezTo>
                  <a:pt x="576061" y="219603"/>
                  <a:pt x="593341" y="227582"/>
                  <a:pt x="609202" y="238138"/>
                </a:cubicBezTo>
                <a:cubicBezTo>
                  <a:pt x="616941" y="239942"/>
                  <a:pt x="622612" y="245215"/>
                  <a:pt x="628967" y="249417"/>
                </a:cubicBezTo>
                <a:cubicBezTo>
                  <a:pt x="633934" y="252684"/>
                  <a:pt x="639699" y="254681"/>
                  <a:pt x="644312" y="258675"/>
                </a:cubicBezTo>
                <a:cubicBezTo>
                  <a:pt x="645294" y="259509"/>
                  <a:pt x="646857" y="260145"/>
                  <a:pt x="648172" y="260172"/>
                </a:cubicBezTo>
                <a:cubicBezTo>
                  <a:pt x="653911" y="260487"/>
                  <a:pt x="657984" y="263572"/>
                  <a:pt x="661803" y="267442"/>
                </a:cubicBezTo>
                <a:cubicBezTo>
                  <a:pt x="663019" y="268677"/>
                  <a:pt x="664376" y="270592"/>
                  <a:pt x="665840" y="270705"/>
                </a:cubicBezTo>
                <a:cubicBezTo>
                  <a:pt x="674035" y="271374"/>
                  <a:pt x="679474" y="277511"/>
                  <a:pt x="686270" y="280835"/>
                </a:cubicBezTo>
                <a:cubicBezTo>
                  <a:pt x="695069" y="285183"/>
                  <a:pt x="703190" y="290937"/>
                  <a:pt x="711607" y="296063"/>
                </a:cubicBezTo>
                <a:cubicBezTo>
                  <a:pt x="726344" y="305105"/>
                  <a:pt x="741082" y="314146"/>
                  <a:pt x="755771" y="323159"/>
                </a:cubicBezTo>
                <a:cubicBezTo>
                  <a:pt x="768663" y="331135"/>
                  <a:pt x="781641" y="338961"/>
                  <a:pt x="794417" y="347137"/>
                </a:cubicBezTo>
                <a:cubicBezTo>
                  <a:pt x="800880" y="351267"/>
                  <a:pt x="806667" y="356340"/>
                  <a:pt x="814057" y="359209"/>
                </a:cubicBezTo>
                <a:cubicBezTo>
                  <a:pt x="819231" y="361197"/>
                  <a:pt x="823672" y="365026"/>
                  <a:pt x="828310" y="368170"/>
                </a:cubicBezTo>
                <a:cubicBezTo>
                  <a:pt x="837907" y="374709"/>
                  <a:pt x="847359" y="381499"/>
                  <a:pt x="857013" y="387939"/>
                </a:cubicBezTo>
                <a:cubicBezTo>
                  <a:pt x="865078" y="393327"/>
                  <a:pt x="872480" y="399865"/>
                  <a:pt x="881568" y="403714"/>
                </a:cubicBezTo>
                <a:cubicBezTo>
                  <a:pt x="883757" y="404645"/>
                  <a:pt x="886538" y="406051"/>
                  <a:pt x="887479" y="407993"/>
                </a:cubicBezTo>
                <a:cubicBezTo>
                  <a:pt x="890027" y="413259"/>
                  <a:pt x="894678" y="415345"/>
                  <a:pt x="899218" y="417966"/>
                </a:cubicBezTo>
                <a:cubicBezTo>
                  <a:pt x="901862" y="419493"/>
                  <a:pt x="903626" y="422776"/>
                  <a:pt x="906365" y="424024"/>
                </a:cubicBezTo>
                <a:cubicBezTo>
                  <a:pt x="916243" y="428462"/>
                  <a:pt x="922489" y="437463"/>
                  <a:pt x="931447" y="443034"/>
                </a:cubicBezTo>
                <a:cubicBezTo>
                  <a:pt x="936250" y="446007"/>
                  <a:pt x="940794" y="449429"/>
                  <a:pt x="945778" y="451975"/>
                </a:cubicBezTo>
                <a:cubicBezTo>
                  <a:pt x="950313" y="454259"/>
                  <a:pt x="954109" y="457250"/>
                  <a:pt x="957120" y="461252"/>
                </a:cubicBezTo>
                <a:cubicBezTo>
                  <a:pt x="962950" y="469014"/>
                  <a:pt x="970713" y="474695"/>
                  <a:pt x="979011" y="479221"/>
                </a:cubicBezTo>
                <a:cubicBezTo>
                  <a:pt x="986083" y="483104"/>
                  <a:pt x="991009" y="488744"/>
                  <a:pt x="995949" y="494593"/>
                </a:cubicBezTo>
                <a:cubicBezTo>
                  <a:pt x="997541" y="496445"/>
                  <a:pt x="998587" y="498780"/>
                  <a:pt x="999935" y="500824"/>
                </a:cubicBezTo>
                <a:cubicBezTo>
                  <a:pt x="1002286" y="504358"/>
                  <a:pt x="1006012" y="506509"/>
                  <a:pt x="1011112" y="507277"/>
                </a:cubicBezTo>
                <a:cubicBezTo>
                  <a:pt x="1016261" y="513914"/>
                  <a:pt x="1015480" y="521719"/>
                  <a:pt x="1014577" y="529391"/>
                </a:cubicBezTo>
                <a:cubicBezTo>
                  <a:pt x="1014361" y="531264"/>
                  <a:pt x="1012679" y="533024"/>
                  <a:pt x="1011570" y="534713"/>
                </a:cubicBezTo>
                <a:cubicBezTo>
                  <a:pt x="1010086" y="537054"/>
                  <a:pt x="1007982" y="538970"/>
                  <a:pt x="1008224" y="542240"/>
                </a:cubicBezTo>
                <a:cubicBezTo>
                  <a:pt x="1008298" y="543147"/>
                  <a:pt x="1006889" y="544665"/>
                  <a:pt x="1005829" y="545119"/>
                </a:cubicBezTo>
                <a:cubicBezTo>
                  <a:pt x="1004052" y="545891"/>
                  <a:pt x="1003439" y="547069"/>
                  <a:pt x="1002537" y="548746"/>
                </a:cubicBezTo>
                <a:cubicBezTo>
                  <a:pt x="999198" y="554877"/>
                  <a:pt x="994833" y="555753"/>
                  <a:pt x="988704" y="552081"/>
                </a:cubicBezTo>
                <a:cubicBezTo>
                  <a:pt x="987307" y="551275"/>
                  <a:pt x="985822" y="550617"/>
                  <a:pt x="984496" y="549919"/>
                </a:cubicBezTo>
                <a:cubicBezTo>
                  <a:pt x="981844" y="552784"/>
                  <a:pt x="983367" y="555793"/>
                  <a:pt x="982477" y="559408"/>
                </a:cubicBezTo>
                <a:cubicBezTo>
                  <a:pt x="979701" y="561336"/>
                  <a:pt x="976280" y="563690"/>
                  <a:pt x="972779" y="566064"/>
                </a:cubicBezTo>
                <a:cubicBezTo>
                  <a:pt x="972078" y="572119"/>
                  <a:pt x="971319" y="578274"/>
                  <a:pt x="970667" y="584358"/>
                </a:cubicBezTo>
                <a:cubicBezTo>
                  <a:pt x="964927" y="588769"/>
                  <a:pt x="960495" y="594602"/>
                  <a:pt x="953092" y="595324"/>
                </a:cubicBezTo>
                <a:cubicBezTo>
                  <a:pt x="950768" y="603883"/>
                  <a:pt x="950686" y="610362"/>
                  <a:pt x="952848" y="614762"/>
                </a:cubicBezTo>
                <a:cubicBezTo>
                  <a:pt x="950028" y="615265"/>
                  <a:pt x="947338" y="615777"/>
                  <a:pt x="944104" y="616307"/>
                </a:cubicBezTo>
                <a:cubicBezTo>
                  <a:pt x="944309" y="618490"/>
                  <a:pt x="944562" y="620701"/>
                  <a:pt x="944798" y="623634"/>
                </a:cubicBezTo>
                <a:cubicBezTo>
                  <a:pt x="940031" y="623479"/>
                  <a:pt x="935571" y="623368"/>
                  <a:pt x="931268" y="623216"/>
                </a:cubicBezTo>
                <a:cubicBezTo>
                  <a:pt x="930335" y="625408"/>
                  <a:pt x="929754" y="627337"/>
                  <a:pt x="928702" y="628927"/>
                </a:cubicBezTo>
                <a:cubicBezTo>
                  <a:pt x="927544" y="630589"/>
                  <a:pt x="925864" y="631884"/>
                  <a:pt x="924212" y="633594"/>
                </a:cubicBezTo>
                <a:cubicBezTo>
                  <a:pt x="928052" y="640539"/>
                  <a:pt x="935056" y="645116"/>
                  <a:pt x="936591" y="654327"/>
                </a:cubicBezTo>
                <a:cubicBezTo>
                  <a:pt x="935199" y="661116"/>
                  <a:pt x="930785" y="667492"/>
                  <a:pt x="924668" y="673018"/>
                </a:cubicBezTo>
                <a:cubicBezTo>
                  <a:pt x="923003" y="674520"/>
                  <a:pt x="921731" y="675918"/>
                  <a:pt x="919436" y="675857"/>
                </a:cubicBezTo>
                <a:cubicBezTo>
                  <a:pt x="918793" y="675820"/>
                  <a:pt x="918127" y="676167"/>
                  <a:pt x="917439" y="676436"/>
                </a:cubicBezTo>
                <a:cubicBezTo>
                  <a:pt x="915297" y="677264"/>
                  <a:pt x="917408" y="681214"/>
                  <a:pt x="914321" y="681030"/>
                </a:cubicBezTo>
                <a:cubicBezTo>
                  <a:pt x="911799" y="680905"/>
                  <a:pt x="911440" y="682563"/>
                  <a:pt x="910882" y="684105"/>
                </a:cubicBezTo>
                <a:cubicBezTo>
                  <a:pt x="910389" y="685420"/>
                  <a:pt x="910125" y="686799"/>
                  <a:pt x="910040" y="688215"/>
                </a:cubicBezTo>
                <a:cubicBezTo>
                  <a:pt x="909905" y="690868"/>
                  <a:pt x="909187" y="692917"/>
                  <a:pt x="906508" y="694102"/>
                </a:cubicBezTo>
                <a:cubicBezTo>
                  <a:pt x="902926" y="695696"/>
                  <a:pt x="901971" y="699541"/>
                  <a:pt x="901005" y="702711"/>
                </a:cubicBezTo>
                <a:cubicBezTo>
                  <a:pt x="900366" y="704741"/>
                  <a:pt x="901703" y="707378"/>
                  <a:pt x="902183" y="710119"/>
                </a:cubicBezTo>
                <a:cubicBezTo>
                  <a:pt x="895408" y="720126"/>
                  <a:pt x="888380" y="730454"/>
                  <a:pt x="881064" y="741282"/>
                </a:cubicBezTo>
                <a:cubicBezTo>
                  <a:pt x="882660" y="743935"/>
                  <a:pt x="884205" y="746559"/>
                  <a:pt x="885851" y="749240"/>
                </a:cubicBezTo>
                <a:cubicBezTo>
                  <a:pt x="884887" y="750216"/>
                  <a:pt x="884217" y="751494"/>
                  <a:pt x="883466" y="751526"/>
                </a:cubicBezTo>
                <a:cubicBezTo>
                  <a:pt x="880020" y="751735"/>
                  <a:pt x="876517" y="751577"/>
                  <a:pt x="872593" y="751576"/>
                </a:cubicBezTo>
                <a:cubicBezTo>
                  <a:pt x="870361" y="753484"/>
                  <a:pt x="872041" y="756451"/>
                  <a:pt x="871489" y="759597"/>
                </a:cubicBezTo>
                <a:cubicBezTo>
                  <a:pt x="869906" y="760148"/>
                  <a:pt x="867867" y="760569"/>
                  <a:pt x="866133" y="761498"/>
                </a:cubicBezTo>
                <a:cubicBezTo>
                  <a:pt x="860672" y="764274"/>
                  <a:pt x="860243" y="765824"/>
                  <a:pt x="862781" y="772950"/>
                </a:cubicBezTo>
                <a:cubicBezTo>
                  <a:pt x="860955" y="773694"/>
                  <a:pt x="858809" y="775452"/>
                  <a:pt x="857338" y="775002"/>
                </a:cubicBezTo>
                <a:cubicBezTo>
                  <a:pt x="852907" y="773576"/>
                  <a:pt x="852052" y="777477"/>
                  <a:pt x="849533" y="779420"/>
                </a:cubicBezTo>
                <a:cubicBezTo>
                  <a:pt x="849986" y="783012"/>
                  <a:pt x="850454" y="786812"/>
                  <a:pt x="851010" y="791263"/>
                </a:cubicBezTo>
                <a:cubicBezTo>
                  <a:pt x="846716" y="793977"/>
                  <a:pt x="844099" y="798395"/>
                  <a:pt x="841646" y="803105"/>
                </a:cubicBezTo>
                <a:cubicBezTo>
                  <a:pt x="838875" y="808366"/>
                  <a:pt x="835705" y="813394"/>
                  <a:pt x="831067" y="817510"/>
                </a:cubicBezTo>
                <a:cubicBezTo>
                  <a:pt x="827491" y="820707"/>
                  <a:pt x="825082" y="825110"/>
                  <a:pt x="821434" y="829930"/>
                </a:cubicBezTo>
                <a:cubicBezTo>
                  <a:pt x="819825" y="830067"/>
                  <a:pt x="817101" y="830292"/>
                  <a:pt x="814140" y="830581"/>
                </a:cubicBezTo>
                <a:cubicBezTo>
                  <a:pt x="812963" y="832965"/>
                  <a:pt x="811758" y="835398"/>
                  <a:pt x="810516" y="838012"/>
                </a:cubicBezTo>
                <a:cubicBezTo>
                  <a:pt x="809565" y="837929"/>
                  <a:pt x="808342" y="838089"/>
                  <a:pt x="807543" y="837628"/>
                </a:cubicBezTo>
                <a:cubicBezTo>
                  <a:pt x="799184" y="832402"/>
                  <a:pt x="790912" y="827027"/>
                  <a:pt x="782611" y="821701"/>
                </a:cubicBezTo>
                <a:cubicBezTo>
                  <a:pt x="780872" y="820564"/>
                  <a:pt x="779380" y="818770"/>
                  <a:pt x="777453" y="818191"/>
                </a:cubicBezTo>
                <a:cubicBezTo>
                  <a:pt x="765761" y="814703"/>
                  <a:pt x="758225" y="804825"/>
                  <a:pt x="747218" y="800268"/>
                </a:cubicBezTo>
                <a:cubicBezTo>
                  <a:pt x="747564" y="799669"/>
                  <a:pt x="747939" y="799019"/>
                  <a:pt x="748285" y="798420"/>
                </a:cubicBezTo>
                <a:lnTo>
                  <a:pt x="761657" y="806141"/>
                </a:lnTo>
                <a:cubicBezTo>
                  <a:pt x="756577" y="800077"/>
                  <a:pt x="752694" y="792974"/>
                  <a:pt x="745119" y="789732"/>
                </a:cubicBezTo>
                <a:cubicBezTo>
                  <a:pt x="743985" y="789277"/>
                  <a:pt x="743204" y="788094"/>
                  <a:pt x="742193" y="787310"/>
                </a:cubicBezTo>
                <a:cubicBezTo>
                  <a:pt x="740241" y="785851"/>
                  <a:pt x="738405" y="784191"/>
                  <a:pt x="736302" y="783110"/>
                </a:cubicBezTo>
                <a:cubicBezTo>
                  <a:pt x="735353" y="782563"/>
                  <a:pt x="733430" y="782784"/>
                  <a:pt x="732511" y="783453"/>
                </a:cubicBezTo>
                <a:cubicBezTo>
                  <a:pt x="730439" y="784853"/>
                  <a:pt x="732196" y="786534"/>
                  <a:pt x="732896" y="788204"/>
                </a:cubicBezTo>
                <a:cubicBezTo>
                  <a:pt x="730376" y="788879"/>
                  <a:pt x="727494" y="789147"/>
                  <a:pt x="726746" y="792977"/>
                </a:cubicBezTo>
                <a:cubicBezTo>
                  <a:pt x="727771" y="793968"/>
                  <a:pt x="728994" y="795074"/>
                  <a:pt x="730360" y="796397"/>
                </a:cubicBezTo>
                <a:cubicBezTo>
                  <a:pt x="729689" y="796408"/>
                  <a:pt x="729059" y="796577"/>
                  <a:pt x="728660" y="796346"/>
                </a:cubicBezTo>
                <a:cubicBezTo>
                  <a:pt x="725317" y="794416"/>
                  <a:pt x="721981" y="792358"/>
                  <a:pt x="718581" y="790527"/>
                </a:cubicBezTo>
                <a:cubicBezTo>
                  <a:pt x="715479" y="788870"/>
                  <a:pt x="712380" y="786748"/>
                  <a:pt x="709067" y="786034"/>
                </a:cubicBezTo>
                <a:cubicBezTo>
                  <a:pt x="702034" y="784504"/>
                  <a:pt x="696033" y="780840"/>
                  <a:pt x="689650" y="777953"/>
                </a:cubicBezTo>
                <a:cubicBezTo>
                  <a:pt x="680549" y="773897"/>
                  <a:pt x="672441" y="768352"/>
                  <a:pt x="664227" y="762876"/>
                </a:cubicBezTo>
                <a:cubicBezTo>
                  <a:pt x="643137" y="748702"/>
                  <a:pt x="621991" y="734628"/>
                  <a:pt x="600845" y="720555"/>
                </a:cubicBezTo>
                <a:cubicBezTo>
                  <a:pt x="580888" y="707301"/>
                  <a:pt x="560910" y="693969"/>
                  <a:pt x="540838" y="680915"/>
                </a:cubicBezTo>
                <a:cubicBezTo>
                  <a:pt x="514503" y="663845"/>
                  <a:pt x="487944" y="647046"/>
                  <a:pt x="461493" y="630177"/>
                </a:cubicBezTo>
                <a:cubicBezTo>
                  <a:pt x="446329" y="620490"/>
                  <a:pt x="431079" y="610952"/>
                  <a:pt x="415944" y="601215"/>
                </a:cubicBezTo>
                <a:cubicBezTo>
                  <a:pt x="407643" y="595890"/>
                  <a:pt x="399205" y="590685"/>
                  <a:pt x="391242" y="584889"/>
                </a:cubicBezTo>
                <a:cubicBezTo>
                  <a:pt x="385900" y="581005"/>
                  <a:pt x="380456" y="577529"/>
                  <a:pt x="374602" y="574416"/>
                </a:cubicBezTo>
                <a:cubicBezTo>
                  <a:pt x="370674" y="572348"/>
                  <a:pt x="367640" y="568731"/>
                  <a:pt x="363835" y="566334"/>
                </a:cubicBezTo>
                <a:cubicBezTo>
                  <a:pt x="360007" y="563859"/>
                  <a:pt x="355641" y="562203"/>
                  <a:pt x="351729" y="559878"/>
                </a:cubicBezTo>
                <a:cubicBezTo>
                  <a:pt x="349633" y="558668"/>
                  <a:pt x="347775" y="556930"/>
                  <a:pt x="346126" y="555178"/>
                </a:cubicBezTo>
                <a:cubicBezTo>
                  <a:pt x="342222" y="550992"/>
                  <a:pt x="337411" y="548148"/>
                  <a:pt x="332189" y="546133"/>
                </a:cubicBezTo>
                <a:cubicBezTo>
                  <a:pt x="325803" y="543710"/>
                  <a:pt x="320180" y="540198"/>
                  <a:pt x="314904" y="536086"/>
                </a:cubicBezTo>
                <a:cubicBezTo>
                  <a:pt x="312191" y="533987"/>
                  <a:pt x="310175" y="531025"/>
                  <a:pt x="307175" y="527695"/>
                </a:cubicBezTo>
                <a:cubicBezTo>
                  <a:pt x="304278" y="528219"/>
                  <a:pt x="300762" y="527855"/>
                  <a:pt x="297264" y="525502"/>
                </a:cubicBezTo>
                <a:cubicBezTo>
                  <a:pt x="283387" y="515892"/>
                  <a:pt x="269258" y="506602"/>
                  <a:pt x="255186" y="497212"/>
                </a:cubicBezTo>
                <a:cubicBezTo>
                  <a:pt x="246102" y="491169"/>
                  <a:pt x="236968" y="485096"/>
                  <a:pt x="227826" y="479152"/>
                </a:cubicBezTo>
                <a:cubicBezTo>
                  <a:pt x="213619" y="469883"/>
                  <a:pt x="199403" y="460744"/>
                  <a:pt x="185166" y="451525"/>
                </a:cubicBezTo>
                <a:cubicBezTo>
                  <a:pt x="170330" y="441961"/>
                  <a:pt x="155546" y="432425"/>
                  <a:pt x="140710" y="422861"/>
                </a:cubicBezTo>
                <a:cubicBezTo>
                  <a:pt x="126494" y="413722"/>
                  <a:pt x="112229" y="404553"/>
                  <a:pt x="97956" y="395513"/>
                </a:cubicBezTo>
                <a:cubicBezTo>
                  <a:pt x="85421" y="387610"/>
                  <a:pt x="72734" y="380085"/>
                  <a:pt x="60286" y="372034"/>
                </a:cubicBezTo>
                <a:cubicBezTo>
                  <a:pt x="52932" y="367254"/>
                  <a:pt x="45897" y="361927"/>
                  <a:pt x="38795" y="356828"/>
                </a:cubicBezTo>
                <a:cubicBezTo>
                  <a:pt x="29963" y="350463"/>
                  <a:pt x="21109" y="344020"/>
                  <a:pt x="12334" y="337555"/>
                </a:cubicBezTo>
                <a:cubicBezTo>
                  <a:pt x="8132" y="334463"/>
                  <a:pt x="3995" y="331142"/>
                  <a:pt x="0" y="328036"/>
                </a:cubicBezTo>
                <a:cubicBezTo>
                  <a:pt x="927" y="324242"/>
                  <a:pt x="3820" y="324647"/>
                  <a:pt x="5940" y="323740"/>
                </a:cubicBezTo>
                <a:cubicBezTo>
                  <a:pt x="9837" y="322061"/>
                  <a:pt x="10455" y="319954"/>
                  <a:pt x="7935" y="316367"/>
                </a:cubicBezTo>
                <a:cubicBezTo>
                  <a:pt x="6721" y="314667"/>
                  <a:pt x="5292" y="313110"/>
                  <a:pt x="3579" y="311121"/>
                </a:cubicBezTo>
                <a:lnTo>
                  <a:pt x="12086" y="296387"/>
                </a:lnTo>
                <a:cubicBezTo>
                  <a:pt x="7757" y="291556"/>
                  <a:pt x="8590" y="285044"/>
                  <a:pt x="5541" y="279953"/>
                </a:cubicBezTo>
                <a:cubicBezTo>
                  <a:pt x="5023" y="279122"/>
                  <a:pt x="4494" y="277618"/>
                  <a:pt x="4941" y="277076"/>
                </a:cubicBezTo>
                <a:cubicBezTo>
                  <a:pt x="8488" y="272198"/>
                  <a:pt x="5230" y="267586"/>
                  <a:pt x="4588" y="262821"/>
                </a:cubicBezTo>
                <a:cubicBezTo>
                  <a:pt x="4383" y="261103"/>
                  <a:pt x="4098" y="259408"/>
                  <a:pt x="3779" y="257425"/>
                </a:cubicBezTo>
                <a:cubicBezTo>
                  <a:pt x="6611" y="257129"/>
                  <a:pt x="9028" y="256859"/>
                  <a:pt x="11861" y="256563"/>
                </a:cubicBezTo>
                <a:cubicBezTo>
                  <a:pt x="13056" y="254723"/>
                  <a:pt x="14367" y="252682"/>
                  <a:pt x="15959" y="250271"/>
                </a:cubicBezTo>
                <a:cubicBezTo>
                  <a:pt x="24538" y="252694"/>
                  <a:pt x="33169" y="255146"/>
                  <a:pt x="41720" y="257619"/>
                </a:cubicBezTo>
                <a:cubicBezTo>
                  <a:pt x="44388" y="250234"/>
                  <a:pt x="44291" y="249247"/>
                  <a:pt x="39651" y="245302"/>
                </a:cubicBezTo>
                <a:cubicBezTo>
                  <a:pt x="31593" y="238518"/>
                  <a:pt x="23427" y="231806"/>
                  <a:pt x="15731" y="225431"/>
                </a:cubicBezTo>
                <a:cubicBezTo>
                  <a:pt x="15014" y="221487"/>
                  <a:pt x="15004" y="217819"/>
                  <a:pt x="13639" y="214766"/>
                </a:cubicBezTo>
                <a:cubicBezTo>
                  <a:pt x="12479" y="212166"/>
                  <a:pt x="9808" y="210223"/>
                  <a:pt x="7754" y="207906"/>
                </a:cubicBezTo>
                <a:cubicBezTo>
                  <a:pt x="8909" y="207174"/>
                  <a:pt x="9519" y="206460"/>
                  <a:pt x="9976" y="206591"/>
                </a:cubicBezTo>
                <a:cubicBezTo>
                  <a:pt x="12675" y="207217"/>
                  <a:pt x="15307" y="208536"/>
                  <a:pt x="18082" y="206609"/>
                </a:cubicBezTo>
                <a:cubicBezTo>
                  <a:pt x="21454" y="204227"/>
                  <a:pt x="23444" y="200780"/>
                  <a:pt x="24063" y="196942"/>
                </a:cubicBezTo>
                <a:cubicBezTo>
                  <a:pt x="24601" y="193590"/>
                  <a:pt x="25015" y="189300"/>
                  <a:pt x="23413" y="186776"/>
                </a:cubicBezTo>
                <a:cubicBezTo>
                  <a:pt x="20369" y="182022"/>
                  <a:pt x="22162" y="177995"/>
                  <a:pt x="23248" y="173694"/>
                </a:cubicBezTo>
                <a:cubicBezTo>
                  <a:pt x="23445" y="173009"/>
                  <a:pt x="23791" y="172409"/>
                  <a:pt x="24094" y="171652"/>
                </a:cubicBezTo>
                <a:cubicBezTo>
                  <a:pt x="30720" y="168818"/>
                  <a:pt x="34046" y="162480"/>
                  <a:pt x="38390" y="157263"/>
                </a:cubicBezTo>
                <a:cubicBezTo>
                  <a:pt x="38726" y="157257"/>
                  <a:pt x="39198" y="157129"/>
                  <a:pt x="39448" y="157273"/>
                </a:cubicBezTo>
                <a:cubicBezTo>
                  <a:pt x="44792" y="160692"/>
                  <a:pt x="49782" y="164839"/>
                  <a:pt x="55546" y="167301"/>
                </a:cubicBezTo>
                <a:cubicBezTo>
                  <a:pt x="61331" y="169841"/>
                  <a:pt x="67398" y="171547"/>
                  <a:pt x="72525" y="175571"/>
                </a:cubicBezTo>
                <a:cubicBezTo>
                  <a:pt x="74127" y="176830"/>
                  <a:pt x="76349" y="177246"/>
                  <a:pt x="78252" y="178212"/>
                </a:cubicBezTo>
                <a:cubicBezTo>
                  <a:pt x="81382" y="179820"/>
                  <a:pt x="84570" y="181327"/>
                  <a:pt x="87556" y="183185"/>
                </a:cubicBezTo>
                <a:cubicBezTo>
                  <a:pt x="97462" y="189303"/>
                  <a:pt x="107260" y="195492"/>
                  <a:pt x="117942" y="200728"/>
                </a:cubicBezTo>
                <a:cubicBezTo>
                  <a:pt x="117068" y="199823"/>
                  <a:pt x="116301" y="198847"/>
                  <a:pt x="115318" y="198013"/>
                </a:cubicBezTo>
                <a:cubicBezTo>
                  <a:pt x="111680" y="194981"/>
                  <a:pt x="111630" y="194952"/>
                  <a:pt x="112574" y="189170"/>
                </a:cubicBezTo>
                <a:cubicBezTo>
                  <a:pt x="109882" y="187150"/>
                  <a:pt x="107069" y="184992"/>
                  <a:pt x="104106" y="182749"/>
                </a:cubicBezTo>
                <a:cubicBezTo>
                  <a:pt x="104175" y="180325"/>
                  <a:pt x="104137" y="177972"/>
                  <a:pt x="104183" y="175934"/>
                </a:cubicBezTo>
                <a:cubicBezTo>
                  <a:pt x="90612" y="165102"/>
                  <a:pt x="77439" y="154499"/>
                  <a:pt x="64018" y="143754"/>
                </a:cubicBezTo>
                <a:cubicBezTo>
                  <a:pt x="64296" y="140851"/>
                  <a:pt x="64589" y="138156"/>
                  <a:pt x="64881" y="135461"/>
                </a:cubicBezTo>
                <a:lnTo>
                  <a:pt x="64904" y="135075"/>
                </a:lnTo>
                <a:cubicBezTo>
                  <a:pt x="63528" y="133081"/>
                  <a:pt x="62171" y="131166"/>
                  <a:pt x="60795" y="129173"/>
                </a:cubicBezTo>
                <a:cubicBezTo>
                  <a:pt x="61813" y="128561"/>
                  <a:pt x="62424" y="127849"/>
                  <a:pt x="62831" y="127950"/>
                </a:cubicBezTo>
                <a:cubicBezTo>
                  <a:pt x="66864" y="129147"/>
                  <a:pt x="70838" y="130443"/>
                  <a:pt x="75349" y="131847"/>
                </a:cubicBezTo>
                <a:cubicBezTo>
                  <a:pt x="76958" y="130446"/>
                  <a:pt x="78731" y="128872"/>
                  <a:pt x="80856" y="127035"/>
                </a:cubicBezTo>
                <a:cubicBezTo>
                  <a:pt x="81861" y="127482"/>
                  <a:pt x="83261" y="127824"/>
                  <a:pt x="84322" y="128636"/>
                </a:cubicBezTo>
                <a:cubicBezTo>
                  <a:pt x="93746" y="135476"/>
                  <a:pt x="103140" y="142365"/>
                  <a:pt x="112535" y="149254"/>
                </a:cubicBezTo>
                <a:cubicBezTo>
                  <a:pt x="113945" y="150268"/>
                  <a:pt x="115376" y="151361"/>
                  <a:pt x="116952" y="152204"/>
                </a:cubicBezTo>
                <a:cubicBezTo>
                  <a:pt x="119404" y="153487"/>
                  <a:pt x="121774" y="152723"/>
                  <a:pt x="123926" y="151302"/>
                </a:cubicBezTo>
                <a:cubicBezTo>
                  <a:pt x="126155" y="149858"/>
                  <a:pt x="126715" y="146586"/>
                  <a:pt x="124721" y="144968"/>
                </a:cubicBezTo>
                <a:cubicBezTo>
                  <a:pt x="120664" y="141627"/>
                  <a:pt x="116361" y="138476"/>
                  <a:pt x="112167" y="135256"/>
                </a:cubicBezTo>
                <a:cubicBezTo>
                  <a:pt x="110515" y="133969"/>
                  <a:pt x="108569" y="132846"/>
                  <a:pt x="109551" y="129416"/>
                </a:cubicBezTo>
                <a:cubicBezTo>
                  <a:pt x="113290" y="130776"/>
                  <a:pt x="117001" y="132185"/>
                  <a:pt x="121624" y="133856"/>
                </a:cubicBezTo>
                <a:cubicBezTo>
                  <a:pt x="121425" y="130744"/>
                  <a:pt x="121294" y="128205"/>
                  <a:pt x="121039" y="124728"/>
                </a:cubicBezTo>
                <a:cubicBezTo>
                  <a:pt x="126266" y="127545"/>
                  <a:pt x="130763" y="130009"/>
                  <a:pt x="135340" y="132452"/>
                </a:cubicBezTo>
                <a:cubicBezTo>
                  <a:pt x="139080" y="129549"/>
                  <a:pt x="137097" y="125607"/>
                  <a:pt x="138090" y="122850"/>
                </a:cubicBezTo>
                <a:cubicBezTo>
                  <a:pt x="136940" y="118389"/>
                  <a:pt x="130910" y="117772"/>
                  <a:pt x="130624" y="111814"/>
                </a:cubicBezTo>
                <a:cubicBezTo>
                  <a:pt x="137648" y="113937"/>
                  <a:pt x="143973" y="115657"/>
                  <a:pt x="149480" y="119370"/>
                </a:cubicBezTo>
                <a:cubicBezTo>
                  <a:pt x="164122" y="129155"/>
                  <a:pt x="178726" y="139119"/>
                  <a:pt x="193368" y="148904"/>
                </a:cubicBezTo>
                <a:cubicBezTo>
                  <a:pt x="205379" y="156904"/>
                  <a:pt x="217558" y="164735"/>
                  <a:pt x="229735" y="172564"/>
                </a:cubicBezTo>
                <a:cubicBezTo>
                  <a:pt x="231972" y="173990"/>
                  <a:pt x="234549" y="174944"/>
                  <a:pt x="237058" y="176127"/>
                </a:cubicBezTo>
                <a:cubicBezTo>
                  <a:pt x="238366" y="173285"/>
                  <a:pt x="236327" y="172440"/>
                  <a:pt x="235116" y="171542"/>
                </a:cubicBezTo>
                <a:cubicBezTo>
                  <a:pt x="224610" y="163812"/>
                  <a:pt x="214047" y="156181"/>
                  <a:pt x="203492" y="148422"/>
                </a:cubicBezTo>
                <a:cubicBezTo>
                  <a:pt x="189304" y="137966"/>
                  <a:pt x="175173" y="127411"/>
                  <a:pt x="161015" y="116905"/>
                </a:cubicBezTo>
                <a:cubicBezTo>
                  <a:pt x="154840" y="112275"/>
                  <a:pt x="148291" y="108293"/>
                  <a:pt x="143626" y="101738"/>
                </a:cubicBezTo>
                <a:cubicBezTo>
                  <a:pt x="140865" y="97879"/>
                  <a:pt x="136109" y="95400"/>
                  <a:pt x="132322" y="92281"/>
                </a:cubicBezTo>
                <a:cubicBezTo>
                  <a:pt x="130478" y="90750"/>
                  <a:pt x="128634" y="89220"/>
                  <a:pt x="126570" y="87494"/>
                </a:cubicBezTo>
                <a:cubicBezTo>
                  <a:pt x="128345" y="84190"/>
                  <a:pt x="131694" y="84725"/>
                  <a:pt x="133895" y="83333"/>
                </a:cubicBezTo>
                <a:cubicBezTo>
                  <a:pt x="135940" y="81982"/>
                  <a:pt x="138246" y="80982"/>
                  <a:pt x="140453" y="79926"/>
                </a:cubicBezTo>
                <a:cubicBezTo>
                  <a:pt x="141728" y="79330"/>
                  <a:pt x="143116" y="78999"/>
                  <a:pt x="144392" y="78404"/>
                </a:cubicBezTo>
                <a:cubicBezTo>
                  <a:pt x="150703" y="75654"/>
                  <a:pt x="151911" y="72755"/>
                  <a:pt x="149673" y="65801"/>
                </a:cubicBezTo>
                <a:cubicBezTo>
                  <a:pt x="149370" y="64828"/>
                  <a:pt x="148831" y="63917"/>
                  <a:pt x="148421" y="63014"/>
                </a:cubicBezTo>
                <a:cubicBezTo>
                  <a:pt x="152767" y="58331"/>
                  <a:pt x="156312" y="50810"/>
                  <a:pt x="159053" y="40449"/>
                </a:cubicBezTo>
                <a:cubicBezTo>
                  <a:pt x="155638" y="35879"/>
                  <a:pt x="149647" y="31622"/>
                  <a:pt x="155225" y="23920"/>
                </a:cubicBezTo>
                <a:cubicBezTo>
                  <a:pt x="159821" y="26906"/>
                  <a:pt x="164388" y="29942"/>
                  <a:pt x="169033" y="32958"/>
                </a:cubicBezTo>
                <a:cubicBezTo>
                  <a:pt x="172560" y="35261"/>
                  <a:pt x="175852" y="37626"/>
                  <a:pt x="180674" y="36880"/>
                </a:cubicBezTo>
                <a:cubicBezTo>
                  <a:pt x="182655" y="36559"/>
                  <a:pt x="185262" y="38265"/>
                  <a:pt x="187271" y="39625"/>
                </a:cubicBezTo>
                <a:cubicBezTo>
                  <a:pt x="209964" y="54591"/>
                  <a:pt x="232493" y="69729"/>
                  <a:pt x="255272" y="84546"/>
                </a:cubicBezTo>
                <a:cubicBezTo>
                  <a:pt x="264115" y="90317"/>
                  <a:pt x="273576" y="95246"/>
                  <a:pt x="282679" y="100568"/>
                </a:cubicBezTo>
                <a:cubicBezTo>
                  <a:pt x="285173" y="102008"/>
                  <a:pt x="287655" y="103242"/>
                  <a:pt x="291371" y="101991"/>
                </a:cubicBezTo>
                <a:cubicBezTo>
                  <a:pt x="290157" y="100290"/>
                  <a:pt x="289423" y="98335"/>
                  <a:pt x="287962" y="97292"/>
                </a:cubicBezTo>
                <a:cubicBezTo>
                  <a:pt x="280570" y="91891"/>
                  <a:pt x="273039" y="86612"/>
                  <a:pt x="265453" y="81433"/>
                </a:cubicBezTo>
                <a:cubicBezTo>
                  <a:pt x="255885" y="74843"/>
                  <a:pt x="246202" y="68454"/>
                  <a:pt x="236677" y="62021"/>
                </a:cubicBezTo>
                <a:cubicBezTo>
                  <a:pt x="236625" y="59461"/>
                  <a:pt x="236592" y="57443"/>
                  <a:pt x="236545" y="55219"/>
                </a:cubicBezTo>
                <a:cubicBezTo>
                  <a:pt x="230029" y="51989"/>
                  <a:pt x="226235" y="45537"/>
                  <a:pt x="220093" y="41658"/>
                </a:cubicBezTo>
                <a:cubicBezTo>
                  <a:pt x="213580" y="37498"/>
                  <a:pt x="207694" y="32368"/>
                  <a:pt x="201527" y="27609"/>
                </a:cubicBezTo>
                <a:cubicBezTo>
                  <a:pt x="195681" y="23101"/>
                  <a:pt x="189813" y="18514"/>
                  <a:pt x="184116" y="14094"/>
                </a:cubicBezTo>
                <a:cubicBezTo>
                  <a:pt x="183782" y="9372"/>
                  <a:pt x="183404" y="4957"/>
                  <a:pt x="183006" y="0"/>
                </a:cubicBezTo>
                <a:close/>
              </a:path>
            </a:pathLst>
          </a:custGeom>
          <a:solidFill>
            <a:schemeClr val="accent3"/>
          </a:solidFill>
        </p:spPr>
        <p:txBody>
          <a:bodyPr wrap="square">
            <a:noAutofit/>
          </a:bodyPr>
          <a:lstStyle>
            <a:lvl1pPr marL="0" indent="0">
              <a:buNone/>
              <a:defRPr>
                <a:noFill/>
              </a:defRPr>
            </a:lvl1pPr>
          </a:lstStyle>
          <a:p>
            <a:pPr lvl="0"/>
            <a:endParaRPr lang="de-DE" dirty="0"/>
          </a:p>
        </p:txBody>
      </p:sp>
      <p:pic>
        <p:nvPicPr>
          <p:cNvPr id="2" name="Grafik 1">
            <a:extLst>
              <a:ext uri="{FF2B5EF4-FFF2-40B4-BE49-F238E27FC236}">
                <a16:creationId xmlns:a16="http://schemas.microsoft.com/office/drawing/2014/main" id="{F613D209-D039-FF0C-33DC-9A476F0EB0E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035717" y="2178000"/>
            <a:ext cx="4062465" cy="4680000"/>
          </a:xfrm>
          <a:prstGeom prst="rect">
            <a:avLst/>
          </a:prstGeom>
        </p:spPr>
      </p:pic>
      <p:sp>
        <p:nvSpPr>
          <p:cNvPr id="14" name="Textplatzhalter 13">
            <a:extLst>
              <a:ext uri="{FF2B5EF4-FFF2-40B4-BE49-F238E27FC236}">
                <a16:creationId xmlns:a16="http://schemas.microsoft.com/office/drawing/2014/main" id="{90CA32F2-55D8-E43B-FFCA-9FA53733FAA9}"/>
              </a:ext>
            </a:extLst>
          </p:cNvPr>
          <p:cNvSpPr>
            <a:spLocks noGrp="1" noRot="1" noMove="1" noResize="1" noEditPoints="1" noAdjustHandles="1" noChangeArrowheads="1" noChangeShapeType="1"/>
          </p:cNvSpPr>
          <p:nvPr>
            <p:ph type="body" sz="quarter" idx="12"/>
          </p:nvPr>
        </p:nvSpPr>
        <p:spPr>
          <a:xfrm>
            <a:off x="552083" y="5469862"/>
            <a:ext cx="1015235" cy="838012"/>
          </a:xfrm>
          <a:custGeom>
            <a:avLst/>
            <a:gdLst>
              <a:gd name="connsiteX0" fmla="*/ 741388 w 1015235"/>
              <a:gd name="connsiteY0" fmla="*/ 792506 h 838012"/>
              <a:gd name="connsiteX1" fmla="*/ 742053 w 1015235"/>
              <a:gd name="connsiteY1" fmla="*/ 793890 h 838012"/>
              <a:gd name="connsiteX2" fmla="*/ 741117 w 1015235"/>
              <a:gd name="connsiteY2" fmla="*/ 794014 h 838012"/>
              <a:gd name="connsiteX3" fmla="*/ 740479 w 1015235"/>
              <a:gd name="connsiteY3" fmla="*/ 792582 h 838012"/>
              <a:gd name="connsiteX4" fmla="*/ 741388 w 1015235"/>
              <a:gd name="connsiteY4" fmla="*/ 792506 h 838012"/>
              <a:gd name="connsiteX5" fmla="*/ 1006181 w 1015235"/>
              <a:gd name="connsiteY5" fmla="*/ 556377 h 838012"/>
              <a:gd name="connsiteX6" fmla="*/ 1006916 w 1015235"/>
              <a:gd name="connsiteY6" fmla="*/ 556602 h 838012"/>
              <a:gd name="connsiteX7" fmla="*/ 1006478 w 1015235"/>
              <a:gd name="connsiteY7" fmla="*/ 557015 h 838012"/>
              <a:gd name="connsiteX8" fmla="*/ 183006 w 1015235"/>
              <a:gd name="connsiteY8" fmla="*/ 0 h 838012"/>
              <a:gd name="connsiteX9" fmla="*/ 191806 w 1015235"/>
              <a:gd name="connsiteY9" fmla="*/ 1350 h 838012"/>
              <a:gd name="connsiteX10" fmla="*/ 205143 w 1015235"/>
              <a:gd name="connsiteY10" fmla="*/ 4522 h 838012"/>
              <a:gd name="connsiteX11" fmla="*/ 237623 w 1015235"/>
              <a:gd name="connsiteY11" fmla="*/ 28003 h 838012"/>
              <a:gd name="connsiteX12" fmla="*/ 244727 w 1015235"/>
              <a:gd name="connsiteY12" fmla="*/ 32636 h 838012"/>
              <a:gd name="connsiteX13" fmla="*/ 265292 w 1015235"/>
              <a:gd name="connsiteY13" fmla="*/ 45642 h 838012"/>
              <a:gd name="connsiteX14" fmla="*/ 310214 w 1015235"/>
              <a:gd name="connsiteY14" fmla="*/ 75575 h 838012"/>
              <a:gd name="connsiteX15" fmla="*/ 322605 w 1015235"/>
              <a:gd name="connsiteY15" fmla="*/ 83727 h 838012"/>
              <a:gd name="connsiteX16" fmla="*/ 329832 w 1015235"/>
              <a:gd name="connsiteY16" fmla="*/ 88032 h 838012"/>
              <a:gd name="connsiteX17" fmla="*/ 366021 w 1015235"/>
              <a:gd name="connsiteY17" fmla="*/ 107394 h 838012"/>
              <a:gd name="connsiteX18" fmla="*/ 410877 w 1015235"/>
              <a:gd name="connsiteY18" fmla="*/ 133292 h 838012"/>
              <a:gd name="connsiteX19" fmla="*/ 416823 w 1015235"/>
              <a:gd name="connsiteY19" fmla="*/ 134861 h 838012"/>
              <a:gd name="connsiteX20" fmla="*/ 423032 w 1015235"/>
              <a:gd name="connsiteY20" fmla="*/ 135515 h 838012"/>
              <a:gd name="connsiteX21" fmla="*/ 425625 w 1015235"/>
              <a:gd name="connsiteY21" fmla="*/ 141740 h 838012"/>
              <a:gd name="connsiteX22" fmla="*/ 438865 w 1015235"/>
              <a:gd name="connsiteY22" fmla="*/ 145655 h 838012"/>
              <a:gd name="connsiteX23" fmla="*/ 443466 w 1015235"/>
              <a:gd name="connsiteY23" fmla="*/ 147712 h 838012"/>
              <a:gd name="connsiteX24" fmla="*/ 469903 w 1015235"/>
              <a:gd name="connsiteY24" fmla="*/ 164374 h 838012"/>
              <a:gd name="connsiteX25" fmla="*/ 514446 w 1015235"/>
              <a:gd name="connsiteY25" fmla="*/ 188625 h 838012"/>
              <a:gd name="connsiteX26" fmla="*/ 523778 w 1015235"/>
              <a:gd name="connsiteY26" fmla="*/ 193547 h 838012"/>
              <a:gd name="connsiteX27" fmla="*/ 530107 w 1015235"/>
              <a:gd name="connsiteY27" fmla="*/ 197335 h 838012"/>
              <a:gd name="connsiteX28" fmla="*/ 549403 w 1015235"/>
              <a:gd name="connsiteY28" fmla="*/ 207010 h 838012"/>
              <a:gd name="connsiteX29" fmla="*/ 559155 w 1015235"/>
              <a:gd name="connsiteY29" fmla="*/ 210975 h 838012"/>
              <a:gd name="connsiteX30" fmla="*/ 609202 w 1015235"/>
              <a:gd name="connsiteY30" fmla="*/ 238138 h 838012"/>
              <a:gd name="connsiteX31" fmla="*/ 628967 w 1015235"/>
              <a:gd name="connsiteY31" fmla="*/ 249417 h 838012"/>
              <a:gd name="connsiteX32" fmla="*/ 644312 w 1015235"/>
              <a:gd name="connsiteY32" fmla="*/ 258675 h 838012"/>
              <a:gd name="connsiteX33" fmla="*/ 648172 w 1015235"/>
              <a:gd name="connsiteY33" fmla="*/ 260172 h 838012"/>
              <a:gd name="connsiteX34" fmla="*/ 661803 w 1015235"/>
              <a:gd name="connsiteY34" fmla="*/ 267442 h 838012"/>
              <a:gd name="connsiteX35" fmla="*/ 665840 w 1015235"/>
              <a:gd name="connsiteY35" fmla="*/ 270705 h 838012"/>
              <a:gd name="connsiteX36" fmla="*/ 686270 w 1015235"/>
              <a:gd name="connsiteY36" fmla="*/ 280835 h 838012"/>
              <a:gd name="connsiteX37" fmla="*/ 711607 w 1015235"/>
              <a:gd name="connsiteY37" fmla="*/ 296063 h 838012"/>
              <a:gd name="connsiteX38" fmla="*/ 755771 w 1015235"/>
              <a:gd name="connsiteY38" fmla="*/ 323159 h 838012"/>
              <a:gd name="connsiteX39" fmla="*/ 794417 w 1015235"/>
              <a:gd name="connsiteY39" fmla="*/ 347137 h 838012"/>
              <a:gd name="connsiteX40" fmla="*/ 814057 w 1015235"/>
              <a:gd name="connsiteY40" fmla="*/ 359209 h 838012"/>
              <a:gd name="connsiteX41" fmla="*/ 828310 w 1015235"/>
              <a:gd name="connsiteY41" fmla="*/ 368170 h 838012"/>
              <a:gd name="connsiteX42" fmla="*/ 857013 w 1015235"/>
              <a:gd name="connsiteY42" fmla="*/ 387939 h 838012"/>
              <a:gd name="connsiteX43" fmla="*/ 881568 w 1015235"/>
              <a:gd name="connsiteY43" fmla="*/ 403714 h 838012"/>
              <a:gd name="connsiteX44" fmla="*/ 887479 w 1015235"/>
              <a:gd name="connsiteY44" fmla="*/ 407993 h 838012"/>
              <a:gd name="connsiteX45" fmla="*/ 899218 w 1015235"/>
              <a:gd name="connsiteY45" fmla="*/ 417966 h 838012"/>
              <a:gd name="connsiteX46" fmla="*/ 906365 w 1015235"/>
              <a:gd name="connsiteY46" fmla="*/ 424024 h 838012"/>
              <a:gd name="connsiteX47" fmla="*/ 931447 w 1015235"/>
              <a:gd name="connsiteY47" fmla="*/ 443034 h 838012"/>
              <a:gd name="connsiteX48" fmla="*/ 945778 w 1015235"/>
              <a:gd name="connsiteY48" fmla="*/ 451975 h 838012"/>
              <a:gd name="connsiteX49" fmla="*/ 957120 w 1015235"/>
              <a:gd name="connsiteY49" fmla="*/ 461252 h 838012"/>
              <a:gd name="connsiteX50" fmla="*/ 979011 w 1015235"/>
              <a:gd name="connsiteY50" fmla="*/ 479221 h 838012"/>
              <a:gd name="connsiteX51" fmla="*/ 995949 w 1015235"/>
              <a:gd name="connsiteY51" fmla="*/ 494593 h 838012"/>
              <a:gd name="connsiteX52" fmla="*/ 999935 w 1015235"/>
              <a:gd name="connsiteY52" fmla="*/ 500824 h 838012"/>
              <a:gd name="connsiteX53" fmla="*/ 1011112 w 1015235"/>
              <a:gd name="connsiteY53" fmla="*/ 507277 h 838012"/>
              <a:gd name="connsiteX54" fmla="*/ 1014577 w 1015235"/>
              <a:gd name="connsiteY54" fmla="*/ 529391 h 838012"/>
              <a:gd name="connsiteX55" fmla="*/ 1011570 w 1015235"/>
              <a:gd name="connsiteY55" fmla="*/ 534713 h 838012"/>
              <a:gd name="connsiteX56" fmla="*/ 1008224 w 1015235"/>
              <a:gd name="connsiteY56" fmla="*/ 542240 h 838012"/>
              <a:gd name="connsiteX57" fmla="*/ 1005829 w 1015235"/>
              <a:gd name="connsiteY57" fmla="*/ 545119 h 838012"/>
              <a:gd name="connsiteX58" fmla="*/ 1002537 w 1015235"/>
              <a:gd name="connsiteY58" fmla="*/ 548746 h 838012"/>
              <a:gd name="connsiteX59" fmla="*/ 988704 w 1015235"/>
              <a:gd name="connsiteY59" fmla="*/ 552081 h 838012"/>
              <a:gd name="connsiteX60" fmla="*/ 984496 w 1015235"/>
              <a:gd name="connsiteY60" fmla="*/ 549919 h 838012"/>
              <a:gd name="connsiteX61" fmla="*/ 982477 w 1015235"/>
              <a:gd name="connsiteY61" fmla="*/ 559408 h 838012"/>
              <a:gd name="connsiteX62" fmla="*/ 972779 w 1015235"/>
              <a:gd name="connsiteY62" fmla="*/ 566064 h 838012"/>
              <a:gd name="connsiteX63" fmla="*/ 970667 w 1015235"/>
              <a:gd name="connsiteY63" fmla="*/ 584358 h 838012"/>
              <a:gd name="connsiteX64" fmla="*/ 953092 w 1015235"/>
              <a:gd name="connsiteY64" fmla="*/ 595324 h 838012"/>
              <a:gd name="connsiteX65" fmla="*/ 952848 w 1015235"/>
              <a:gd name="connsiteY65" fmla="*/ 614762 h 838012"/>
              <a:gd name="connsiteX66" fmla="*/ 944104 w 1015235"/>
              <a:gd name="connsiteY66" fmla="*/ 616307 h 838012"/>
              <a:gd name="connsiteX67" fmla="*/ 944798 w 1015235"/>
              <a:gd name="connsiteY67" fmla="*/ 623634 h 838012"/>
              <a:gd name="connsiteX68" fmla="*/ 931268 w 1015235"/>
              <a:gd name="connsiteY68" fmla="*/ 623216 h 838012"/>
              <a:gd name="connsiteX69" fmla="*/ 928702 w 1015235"/>
              <a:gd name="connsiteY69" fmla="*/ 628927 h 838012"/>
              <a:gd name="connsiteX70" fmla="*/ 924212 w 1015235"/>
              <a:gd name="connsiteY70" fmla="*/ 633594 h 838012"/>
              <a:gd name="connsiteX71" fmla="*/ 936591 w 1015235"/>
              <a:gd name="connsiteY71" fmla="*/ 654327 h 838012"/>
              <a:gd name="connsiteX72" fmla="*/ 924668 w 1015235"/>
              <a:gd name="connsiteY72" fmla="*/ 673018 h 838012"/>
              <a:gd name="connsiteX73" fmla="*/ 919436 w 1015235"/>
              <a:gd name="connsiteY73" fmla="*/ 675857 h 838012"/>
              <a:gd name="connsiteX74" fmla="*/ 917439 w 1015235"/>
              <a:gd name="connsiteY74" fmla="*/ 676436 h 838012"/>
              <a:gd name="connsiteX75" fmla="*/ 914321 w 1015235"/>
              <a:gd name="connsiteY75" fmla="*/ 681030 h 838012"/>
              <a:gd name="connsiteX76" fmla="*/ 910882 w 1015235"/>
              <a:gd name="connsiteY76" fmla="*/ 684105 h 838012"/>
              <a:gd name="connsiteX77" fmla="*/ 910040 w 1015235"/>
              <a:gd name="connsiteY77" fmla="*/ 688215 h 838012"/>
              <a:gd name="connsiteX78" fmla="*/ 906508 w 1015235"/>
              <a:gd name="connsiteY78" fmla="*/ 694102 h 838012"/>
              <a:gd name="connsiteX79" fmla="*/ 901005 w 1015235"/>
              <a:gd name="connsiteY79" fmla="*/ 702711 h 838012"/>
              <a:gd name="connsiteX80" fmla="*/ 902183 w 1015235"/>
              <a:gd name="connsiteY80" fmla="*/ 710119 h 838012"/>
              <a:gd name="connsiteX81" fmla="*/ 881064 w 1015235"/>
              <a:gd name="connsiteY81" fmla="*/ 741282 h 838012"/>
              <a:gd name="connsiteX82" fmla="*/ 885851 w 1015235"/>
              <a:gd name="connsiteY82" fmla="*/ 749240 h 838012"/>
              <a:gd name="connsiteX83" fmla="*/ 883466 w 1015235"/>
              <a:gd name="connsiteY83" fmla="*/ 751526 h 838012"/>
              <a:gd name="connsiteX84" fmla="*/ 872593 w 1015235"/>
              <a:gd name="connsiteY84" fmla="*/ 751576 h 838012"/>
              <a:gd name="connsiteX85" fmla="*/ 871489 w 1015235"/>
              <a:gd name="connsiteY85" fmla="*/ 759597 h 838012"/>
              <a:gd name="connsiteX86" fmla="*/ 866133 w 1015235"/>
              <a:gd name="connsiteY86" fmla="*/ 761498 h 838012"/>
              <a:gd name="connsiteX87" fmla="*/ 862781 w 1015235"/>
              <a:gd name="connsiteY87" fmla="*/ 772950 h 838012"/>
              <a:gd name="connsiteX88" fmla="*/ 857338 w 1015235"/>
              <a:gd name="connsiteY88" fmla="*/ 775002 h 838012"/>
              <a:gd name="connsiteX89" fmla="*/ 849533 w 1015235"/>
              <a:gd name="connsiteY89" fmla="*/ 779420 h 838012"/>
              <a:gd name="connsiteX90" fmla="*/ 851010 w 1015235"/>
              <a:gd name="connsiteY90" fmla="*/ 791263 h 838012"/>
              <a:gd name="connsiteX91" fmla="*/ 841646 w 1015235"/>
              <a:gd name="connsiteY91" fmla="*/ 803105 h 838012"/>
              <a:gd name="connsiteX92" fmla="*/ 831067 w 1015235"/>
              <a:gd name="connsiteY92" fmla="*/ 817510 h 838012"/>
              <a:gd name="connsiteX93" fmla="*/ 821434 w 1015235"/>
              <a:gd name="connsiteY93" fmla="*/ 829930 h 838012"/>
              <a:gd name="connsiteX94" fmla="*/ 814140 w 1015235"/>
              <a:gd name="connsiteY94" fmla="*/ 830581 h 838012"/>
              <a:gd name="connsiteX95" fmla="*/ 810516 w 1015235"/>
              <a:gd name="connsiteY95" fmla="*/ 838012 h 838012"/>
              <a:gd name="connsiteX96" fmla="*/ 807543 w 1015235"/>
              <a:gd name="connsiteY96" fmla="*/ 837628 h 838012"/>
              <a:gd name="connsiteX97" fmla="*/ 782611 w 1015235"/>
              <a:gd name="connsiteY97" fmla="*/ 821701 h 838012"/>
              <a:gd name="connsiteX98" fmla="*/ 777453 w 1015235"/>
              <a:gd name="connsiteY98" fmla="*/ 818191 h 838012"/>
              <a:gd name="connsiteX99" fmla="*/ 747218 w 1015235"/>
              <a:gd name="connsiteY99" fmla="*/ 800268 h 838012"/>
              <a:gd name="connsiteX100" fmla="*/ 748285 w 1015235"/>
              <a:gd name="connsiteY100" fmla="*/ 798420 h 838012"/>
              <a:gd name="connsiteX101" fmla="*/ 761657 w 1015235"/>
              <a:gd name="connsiteY101" fmla="*/ 806141 h 838012"/>
              <a:gd name="connsiteX102" fmla="*/ 745119 w 1015235"/>
              <a:gd name="connsiteY102" fmla="*/ 789732 h 838012"/>
              <a:gd name="connsiteX103" fmla="*/ 742193 w 1015235"/>
              <a:gd name="connsiteY103" fmla="*/ 787310 h 838012"/>
              <a:gd name="connsiteX104" fmla="*/ 736302 w 1015235"/>
              <a:gd name="connsiteY104" fmla="*/ 783110 h 838012"/>
              <a:gd name="connsiteX105" fmla="*/ 732511 w 1015235"/>
              <a:gd name="connsiteY105" fmla="*/ 783453 h 838012"/>
              <a:gd name="connsiteX106" fmla="*/ 732896 w 1015235"/>
              <a:gd name="connsiteY106" fmla="*/ 788204 h 838012"/>
              <a:gd name="connsiteX107" fmla="*/ 726746 w 1015235"/>
              <a:gd name="connsiteY107" fmla="*/ 792977 h 838012"/>
              <a:gd name="connsiteX108" fmla="*/ 730360 w 1015235"/>
              <a:gd name="connsiteY108" fmla="*/ 796397 h 838012"/>
              <a:gd name="connsiteX109" fmla="*/ 728660 w 1015235"/>
              <a:gd name="connsiteY109" fmla="*/ 796346 h 838012"/>
              <a:gd name="connsiteX110" fmla="*/ 718581 w 1015235"/>
              <a:gd name="connsiteY110" fmla="*/ 790527 h 838012"/>
              <a:gd name="connsiteX111" fmla="*/ 709067 w 1015235"/>
              <a:gd name="connsiteY111" fmla="*/ 786034 h 838012"/>
              <a:gd name="connsiteX112" fmla="*/ 689650 w 1015235"/>
              <a:gd name="connsiteY112" fmla="*/ 777953 h 838012"/>
              <a:gd name="connsiteX113" fmla="*/ 664227 w 1015235"/>
              <a:gd name="connsiteY113" fmla="*/ 762876 h 838012"/>
              <a:gd name="connsiteX114" fmla="*/ 600845 w 1015235"/>
              <a:gd name="connsiteY114" fmla="*/ 720555 h 838012"/>
              <a:gd name="connsiteX115" fmla="*/ 540838 w 1015235"/>
              <a:gd name="connsiteY115" fmla="*/ 680915 h 838012"/>
              <a:gd name="connsiteX116" fmla="*/ 461493 w 1015235"/>
              <a:gd name="connsiteY116" fmla="*/ 630177 h 838012"/>
              <a:gd name="connsiteX117" fmla="*/ 415944 w 1015235"/>
              <a:gd name="connsiteY117" fmla="*/ 601215 h 838012"/>
              <a:gd name="connsiteX118" fmla="*/ 391242 w 1015235"/>
              <a:gd name="connsiteY118" fmla="*/ 584889 h 838012"/>
              <a:gd name="connsiteX119" fmla="*/ 374602 w 1015235"/>
              <a:gd name="connsiteY119" fmla="*/ 574416 h 838012"/>
              <a:gd name="connsiteX120" fmla="*/ 363835 w 1015235"/>
              <a:gd name="connsiteY120" fmla="*/ 566334 h 838012"/>
              <a:gd name="connsiteX121" fmla="*/ 351729 w 1015235"/>
              <a:gd name="connsiteY121" fmla="*/ 559878 h 838012"/>
              <a:gd name="connsiteX122" fmla="*/ 346126 w 1015235"/>
              <a:gd name="connsiteY122" fmla="*/ 555178 h 838012"/>
              <a:gd name="connsiteX123" fmla="*/ 332189 w 1015235"/>
              <a:gd name="connsiteY123" fmla="*/ 546133 h 838012"/>
              <a:gd name="connsiteX124" fmla="*/ 314904 w 1015235"/>
              <a:gd name="connsiteY124" fmla="*/ 536086 h 838012"/>
              <a:gd name="connsiteX125" fmla="*/ 307175 w 1015235"/>
              <a:gd name="connsiteY125" fmla="*/ 527695 h 838012"/>
              <a:gd name="connsiteX126" fmla="*/ 297264 w 1015235"/>
              <a:gd name="connsiteY126" fmla="*/ 525502 h 838012"/>
              <a:gd name="connsiteX127" fmla="*/ 255186 w 1015235"/>
              <a:gd name="connsiteY127" fmla="*/ 497212 h 838012"/>
              <a:gd name="connsiteX128" fmla="*/ 227826 w 1015235"/>
              <a:gd name="connsiteY128" fmla="*/ 479152 h 838012"/>
              <a:gd name="connsiteX129" fmla="*/ 185166 w 1015235"/>
              <a:gd name="connsiteY129" fmla="*/ 451525 h 838012"/>
              <a:gd name="connsiteX130" fmla="*/ 140710 w 1015235"/>
              <a:gd name="connsiteY130" fmla="*/ 422861 h 838012"/>
              <a:gd name="connsiteX131" fmla="*/ 97956 w 1015235"/>
              <a:gd name="connsiteY131" fmla="*/ 395513 h 838012"/>
              <a:gd name="connsiteX132" fmla="*/ 60286 w 1015235"/>
              <a:gd name="connsiteY132" fmla="*/ 372034 h 838012"/>
              <a:gd name="connsiteX133" fmla="*/ 38795 w 1015235"/>
              <a:gd name="connsiteY133" fmla="*/ 356828 h 838012"/>
              <a:gd name="connsiteX134" fmla="*/ 12334 w 1015235"/>
              <a:gd name="connsiteY134" fmla="*/ 337555 h 838012"/>
              <a:gd name="connsiteX135" fmla="*/ 0 w 1015235"/>
              <a:gd name="connsiteY135" fmla="*/ 328036 h 838012"/>
              <a:gd name="connsiteX136" fmla="*/ 5940 w 1015235"/>
              <a:gd name="connsiteY136" fmla="*/ 323740 h 838012"/>
              <a:gd name="connsiteX137" fmla="*/ 7935 w 1015235"/>
              <a:gd name="connsiteY137" fmla="*/ 316367 h 838012"/>
              <a:gd name="connsiteX138" fmla="*/ 3579 w 1015235"/>
              <a:gd name="connsiteY138" fmla="*/ 311121 h 838012"/>
              <a:gd name="connsiteX139" fmla="*/ 12086 w 1015235"/>
              <a:gd name="connsiteY139" fmla="*/ 296387 h 838012"/>
              <a:gd name="connsiteX140" fmla="*/ 5541 w 1015235"/>
              <a:gd name="connsiteY140" fmla="*/ 279953 h 838012"/>
              <a:gd name="connsiteX141" fmla="*/ 4941 w 1015235"/>
              <a:gd name="connsiteY141" fmla="*/ 277076 h 838012"/>
              <a:gd name="connsiteX142" fmla="*/ 4588 w 1015235"/>
              <a:gd name="connsiteY142" fmla="*/ 262821 h 838012"/>
              <a:gd name="connsiteX143" fmla="*/ 3779 w 1015235"/>
              <a:gd name="connsiteY143" fmla="*/ 257425 h 838012"/>
              <a:gd name="connsiteX144" fmla="*/ 11861 w 1015235"/>
              <a:gd name="connsiteY144" fmla="*/ 256563 h 838012"/>
              <a:gd name="connsiteX145" fmla="*/ 15959 w 1015235"/>
              <a:gd name="connsiteY145" fmla="*/ 250271 h 838012"/>
              <a:gd name="connsiteX146" fmla="*/ 41720 w 1015235"/>
              <a:gd name="connsiteY146" fmla="*/ 257619 h 838012"/>
              <a:gd name="connsiteX147" fmla="*/ 39651 w 1015235"/>
              <a:gd name="connsiteY147" fmla="*/ 245302 h 838012"/>
              <a:gd name="connsiteX148" fmla="*/ 15731 w 1015235"/>
              <a:gd name="connsiteY148" fmla="*/ 225431 h 838012"/>
              <a:gd name="connsiteX149" fmla="*/ 13639 w 1015235"/>
              <a:gd name="connsiteY149" fmla="*/ 214766 h 838012"/>
              <a:gd name="connsiteX150" fmla="*/ 7754 w 1015235"/>
              <a:gd name="connsiteY150" fmla="*/ 207906 h 838012"/>
              <a:gd name="connsiteX151" fmla="*/ 9976 w 1015235"/>
              <a:gd name="connsiteY151" fmla="*/ 206591 h 838012"/>
              <a:gd name="connsiteX152" fmla="*/ 18082 w 1015235"/>
              <a:gd name="connsiteY152" fmla="*/ 206609 h 838012"/>
              <a:gd name="connsiteX153" fmla="*/ 24063 w 1015235"/>
              <a:gd name="connsiteY153" fmla="*/ 196942 h 838012"/>
              <a:gd name="connsiteX154" fmla="*/ 23413 w 1015235"/>
              <a:gd name="connsiteY154" fmla="*/ 186776 h 838012"/>
              <a:gd name="connsiteX155" fmla="*/ 23248 w 1015235"/>
              <a:gd name="connsiteY155" fmla="*/ 173694 h 838012"/>
              <a:gd name="connsiteX156" fmla="*/ 24094 w 1015235"/>
              <a:gd name="connsiteY156" fmla="*/ 171652 h 838012"/>
              <a:gd name="connsiteX157" fmla="*/ 38390 w 1015235"/>
              <a:gd name="connsiteY157" fmla="*/ 157263 h 838012"/>
              <a:gd name="connsiteX158" fmla="*/ 39448 w 1015235"/>
              <a:gd name="connsiteY158" fmla="*/ 157273 h 838012"/>
              <a:gd name="connsiteX159" fmla="*/ 55546 w 1015235"/>
              <a:gd name="connsiteY159" fmla="*/ 167301 h 838012"/>
              <a:gd name="connsiteX160" fmla="*/ 72525 w 1015235"/>
              <a:gd name="connsiteY160" fmla="*/ 175571 h 838012"/>
              <a:gd name="connsiteX161" fmla="*/ 78252 w 1015235"/>
              <a:gd name="connsiteY161" fmla="*/ 178212 h 838012"/>
              <a:gd name="connsiteX162" fmla="*/ 87556 w 1015235"/>
              <a:gd name="connsiteY162" fmla="*/ 183185 h 838012"/>
              <a:gd name="connsiteX163" fmla="*/ 117942 w 1015235"/>
              <a:gd name="connsiteY163" fmla="*/ 200728 h 838012"/>
              <a:gd name="connsiteX164" fmla="*/ 115318 w 1015235"/>
              <a:gd name="connsiteY164" fmla="*/ 198013 h 838012"/>
              <a:gd name="connsiteX165" fmla="*/ 112574 w 1015235"/>
              <a:gd name="connsiteY165" fmla="*/ 189170 h 838012"/>
              <a:gd name="connsiteX166" fmla="*/ 104106 w 1015235"/>
              <a:gd name="connsiteY166" fmla="*/ 182749 h 838012"/>
              <a:gd name="connsiteX167" fmla="*/ 104183 w 1015235"/>
              <a:gd name="connsiteY167" fmla="*/ 175934 h 838012"/>
              <a:gd name="connsiteX168" fmla="*/ 64018 w 1015235"/>
              <a:gd name="connsiteY168" fmla="*/ 143754 h 838012"/>
              <a:gd name="connsiteX169" fmla="*/ 64881 w 1015235"/>
              <a:gd name="connsiteY169" fmla="*/ 135461 h 838012"/>
              <a:gd name="connsiteX170" fmla="*/ 64904 w 1015235"/>
              <a:gd name="connsiteY170" fmla="*/ 135075 h 838012"/>
              <a:gd name="connsiteX171" fmla="*/ 60795 w 1015235"/>
              <a:gd name="connsiteY171" fmla="*/ 129173 h 838012"/>
              <a:gd name="connsiteX172" fmla="*/ 62831 w 1015235"/>
              <a:gd name="connsiteY172" fmla="*/ 127950 h 838012"/>
              <a:gd name="connsiteX173" fmla="*/ 75349 w 1015235"/>
              <a:gd name="connsiteY173" fmla="*/ 131847 h 838012"/>
              <a:gd name="connsiteX174" fmla="*/ 80856 w 1015235"/>
              <a:gd name="connsiteY174" fmla="*/ 127035 h 838012"/>
              <a:gd name="connsiteX175" fmla="*/ 84322 w 1015235"/>
              <a:gd name="connsiteY175" fmla="*/ 128636 h 838012"/>
              <a:gd name="connsiteX176" fmla="*/ 112535 w 1015235"/>
              <a:gd name="connsiteY176" fmla="*/ 149254 h 838012"/>
              <a:gd name="connsiteX177" fmla="*/ 116952 w 1015235"/>
              <a:gd name="connsiteY177" fmla="*/ 152204 h 838012"/>
              <a:gd name="connsiteX178" fmla="*/ 123926 w 1015235"/>
              <a:gd name="connsiteY178" fmla="*/ 151302 h 838012"/>
              <a:gd name="connsiteX179" fmla="*/ 124721 w 1015235"/>
              <a:gd name="connsiteY179" fmla="*/ 144968 h 838012"/>
              <a:gd name="connsiteX180" fmla="*/ 112167 w 1015235"/>
              <a:gd name="connsiteY180" fmla="*/ 135256 h 838012"/>
              <a:gd name="connsiteX181" fmla="*/ 109551 w 1015235"/>
              <a:gd name="connsiteY181" fmla="*/ 129416 h 838012"/>
              <a:gd name="connsiteX182" fmla="*/ 121624 w 1015235"/>
              <a:gd name="connsiteY182" fmla="*/ 133856 h 838012"/>
              <a:gd name="connsiteX183" fmla="*/ 121039 w 1015235"/>
              <a:gd name="connsiteY183" fmla="*/ 124728 h 838012"/>
              <a:gd name="connsiteX184" fmla="*/ 135340 w 1015235"/>
              <a:gd name="connsiteY184" fmla="*/ 132452 h 838012"/>
              <a:gd name="connsiteX185" fmla="*/ 138090 w 1015235"/>
              <a:gd name="connsiteY185" fmla="*/ 122850 h 838012"/>
              <a:gd name="connsiteX186" fmla="*/ 130624 w 1015235"/>
              <a:gd name="connsiteY186" fmla="*/ 111814 h 838012"/>
              <a:gd name="connsiteX187" fmla="*/ 149480 w 1015235"/>
              <a:gd name="connsiteY187" fmla="*/ 119370 h 838012"/>
              <a:gd name="connsiteX188" fmla="*/ 193368 w 1015235"/>
              <a:gd name="connsiteY188" fmla="*/ 148904 h 838012"/>
              <a:gd name="connsiteX189" fmla="*/ 229735 w 1015235"/>
              <a:gd name="connsiteY189" fmla="*/ 172564 h 838012"/>
              <a:gd name="connsiteX190" fmla="*/ 237058 w 1015235"/>
              <a:gd name="connsiteY190" fmla="*/ 176127 h 838012"/>
              <a:gd name="connsiteX191" fmla="*/ 235116 w 1015235"/>
              <a:gd name="connsiteY191" fmla="*/ 171542 h 838012"/>
              <a:gd name="connsiteX192" fmla="*/ 203492 w 1015235"/>
              <a:gd name="connsiteY192" fmla="*/ 148422 h 838012"/>
              <a:gd name="connsiteX193" fmla="*/ 161015 w 1015235"/>
              <a:gd name="connsiteY193" fmla="*/ 116905 h 838012"/>
              <a:gd name="connsiteX194" fmla="*/ 143626 w 1015235"/>
              <a:gd name="connsiteY194" fmla="*/ 101738 h 838012"/>
              <a:gd name="connsiteX195" fmla="*/ 132322 w 1015235"/>
              <a:gd name="connsiteY195" fmla="*/ 92281 h 838012"/>
              <a:gd name="connsiteX196" fmla="*/ 126570 w 1015235"/>
              <a:gd name="connsiteY196" fmla="*/ 87494 h 838012"/>
              <a:gd name="connsiteX197" fmla="*/ 133895 w 1015235"/>
              <a:gd name="connsiteY197" fmla="*/ 83333 h 838012"/>
              <a:gd name="connsiteX198" fmla="*/ 140453 w 1015235"/>
              <a:gd name="connsiteY198" fmla="*/ 79926 h 838012"/>
              <a:gd name="connsiteX199" fmla="*/ 144392 w 1015235"/>
              <a:gd name="connsiteY199" fmla="*/ 78404 h 838012"/>
              <a:gd name="connsiteX200" fmla="*/ 149673 w 1015235"/>
              <a:gd name="connsiteY200" fmla="*/ 65801 h 838012"/>
              <a:gd name="connsiteX201" fmla="*/ 148421 w 1015235"/>
              <a:gd name="connsiteY201" fmla="*/ 63014 h 838012"/>
              <a:gd name="connsiteX202" fmla="*/ 159053 w 1015235"/>
              <a:gd name="connsiteY202" fmla="*/ 40449 h 838012"/>
              <a:gd name="connsiteX203" fmla="*/ 155225 w 1015235"/>
              <a:gd name="connsiteY203" fmla="*/ 23920 h 838012"/>
              <a:gd name="connsiteX204" fmla="*/ 169033 w 1015235"/>
              <a:gd name="connsiteY204" fmla="*/ 32958 h 838012"/>
              <a:gd name="connsiteX205" fmla="*/ 180674 w 1015235"/>
              <a:gd name="connsiteY205" fmla="*/ 36880 h 838012"/>
              <a:gd name="connsiteX206" fmla="*/ 187271 w 1015235"/>
              <a:gd name="connsiteY206" fmla="*/ 39625 h 838012"/>
              <a:gd name="connsiteX207" fmla="*/ 255272 w 1015235"/>
              <a:gd name="connsiteY207" fmla="*/ 84546 h 838012"/>
              <a:gd name="connsiteX208" fmla="*/ 282679 w 1015235"/>
              <a:gd name="connsiteY208" fmla="*/ 100568 h 838012"/>
              <a:gd name="connsiteX209" fmla="*/ 291371 w 1015235"/>
              <a:gd name="connsiteY209" fmla="*/ 101991 h 838012"/>
              <a:gd name="connsiteX210" fmla="*/ 287962 w 1015235"/>
              <a:gd name="connsiteY210" fmla="*/ 97292 h 838012"/>
              <a:gd name="connsiteX211" fmla="*/ 265453 w 1015235"/>
              <a:gd name="connsiteY211" fmla="*/ 81433 h 838012"/>
              <a:gd name="connsiteX212" fmla="*/ 236677 w 1015235"/>
              <a:gd name="connsiteY212" fmla="*/ 62021 h 838012"/>
              <a:gd name="connsiteX213" fmla="*/ 236545 w 1015235"/>
              <a:gd name="connsiteY213" fmla="*/ 55219 h 838012"/>
              <a:gd name="connsiteX214" fmla="*/ 220093 w 1015235"/>
              <a:gd name="connsiteY214" fmla="*/ 41658 h 838012"/>
              <a:gd name="connsiteX215" fmla="*/ 201527 w 1015235"/>
              <a:gd name="connsiteY215" fmla="*/ 27609 h 838012"/>
              <a:gd name="connsiteX216" fmla="*/ 184116 w 1015235"/>
              <a:gd name="connsiteY216" fmla="*/ 14094 h 838012"/>
              <a:gd name="connsiteX217" fmla="*/ 183006 w 1015235"/>
              <a:gd name="connsiteY217" fmla="*/ 0 h 83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1015235" h="838012">
                <a:moveTo>
                  <a:pt x="741388" y="792506"/>
                </a:moveTo>
                <a:cubicBezTo>
                  <a:pt x="741701" y="792887"/>
                  <a:pt x="741848" y="793438"/>
                  <a:pt x="742053" y="793890"/>
                </a:cubicBezTo>
                <a:cubicBezTo>
                  <a:pt x="741738" y="793974"/>
                  <a:pt x="741402" y="793980"/>
                  <a:pt x="741117" y="794014"/>
                </a:cubicBezTo>
                <a:cubicBezTo>
                  <a:pt x="740911" y="793563"/>
                  <a:pt x="740684" y="793033"/>
                  <a:pt x="740479" y="792582"/>
                </a:cubicBezTo>
                <a:cubicBezTo>
                  <a:pt x="740815" y="792576"/>
                  <a:pt x="741267" y="792370"/>
                  <a:pt x="741388" y="792506"/>
                </a:cubicBezTo>
                <a:close/>
                <a:moveTo>
                  <a:pt x="1006181" y="556377"/>
                </a:moveTo>
                <a:lnTo>
                  <a:pt x="1006916" y="556602"/>
                </a:lnTo>
                <a:lnTo>
                  <a:pt x="1006478" y="557015"/>
                </a:lnTo>
                <a:close/>
                <a:moveTo>
                  <a:pt x="183006" y="0"/>
                </a:moveTo>
                <a:cubicBezTo>
                  <a:pt x="185891" y="533"/>
                  <a:pt x="189570" y="2457"/>
                  <a:pt x="191806" y="1350"/>
                </a:cubicBezTo>
                <a:cubicBezTo>
                  <a:pt x="197545" y="-1330"/>
                  <a:pt x="201109" y="2060"/>
                  <a:pt x="205143" y="4522"/>
                </a:cubicBezTo>
                <a:cubicBezTo>
                  <a:pt x="216653" y="11434"/>
                  <a:pt x="227379" y="19358"/>
                  <a:pt x="237623" y="28003"/>
                </a:cubicBezTo>
                <a:cubicBezTo>
                  <a:pt x="239759" y="29835"/>
                  <a:pt x="242340" y="31125"/>
                  <a:pt x="244727" y="32636"/>
                </a:cubicBezTo>
                <a:cubicBezTo>
                  <a:pt x="251589" y="36999"/>
                  <a:pt x="258488" y="41182"/>
                  <a:pt x="265292" y="45642"/>
                </a:cubicBezTo>
                <a:cubicBezTo>
                  <a:pt x="280312" y="55580"/>
                  <a:pt x="295224" y="65587"/>
                  <a:pt x="310214" y="75575"/>
                </a:cubicBezTo>
                <a:cubicBezTo>
                  <a:pt x="314333" y="78352"/>
                  <a:pt x="318430" y="81050"/>
                  <a:pt x="322605" y="83727"/>
                </a:cubicBezTo>
                <a:cubicBezTo>
                  <a:pt x="324992" y="85238"/>
                  <a:pt x="327219" y="87257"/>
                  <a:pt x="329832" y="88032"/>
                </a:cubicBezTo>
                <a:cubicBezTo>
                  <a:pt x="343280" y="91934"/>
                  <a:pt x="354022" y="100867"/>
                  <a:pt x="366021" y="107394"/>
                </a:cubicBezTo>
                <a:cubicBezTo>
                  <a:pt x="381191" y="115687"/>
                  <a:pt x="395958" y="124678"/>
                  <a:pt x="410877" y="133292"/>
                </a:cubicBezTo>
                <a:cubicBezTo>
                  <a:pt x="412574" y="134271"/>
                  <a:pt x="414781" y="134481"/>
                  <a:pt x="416823" y="134861"/>
                </a:cubicBezTo>
                <a:cubicBezTo>
                  <a:pt x="418895" y="135191"/>
                  <a:pt x="421105" y="134935"/>
                  <a:pt x="423032" y="135515"/>
                </a:cubicBezTo>
                <a:cubicBezTo>
                  <a:pt x="425816" y="136456"/>
                  <a:pt x="428596" y="137862"/>
                  <a:pt x="425625" y="141740"/>
                </a:cubicBezTo>
                <a:cubicBezTo>
                  <a:pt x="430268" y="143955"/>
                  <a:pt x="433661" y="147179"/>
                  <a:pt x="438865" y="145655"/>
                </a:cubicBezTo>
                <a:cubicBezTo>
                  <a:pt x="440125" y="145317"/>
                  <a:pt x="442163" y="146626"/>
                  <a:pt x="443466" y="147712"/>
                </a:cubicBezTo>
                <a:cubicBezTo>
                  <a:pt x="451524" y="154495"/>
                  <a:pt x="461103" y="158761"/>
                  <a:pt x="469903" y="164374"/>
                </a:cubicBezTo>
                <a:cubicBezTo>
                  <a:pt x="484227" y="173443"/>
                  <a:pt x="500238" y="179357"/>
                  <a:pt x="514446" y="188625"/>
                </a:cubicBezTo>
                <a:cubicBezTo>
                  <a:pt x="517403" y="190532"/>
                  <a:pt x="520677" y="191891"/>
                  <a:pt x="523778" y="193547"/>
                </a:cubicBezTo>
                <a:cubicBezTo>
                  <a:pt x="525953" y="194737"/>
                  <a:pt x="528694" y="195520"/>
                  <a:pt x="530107" y="197335"/>
                </a:cubicBezTo>
                <a:cubicBezTo>
                  <a:pt x="535123" y="203627"/>
                  <a:pt x="542033" y="205486"/>
                  <a:pt x="549403" y="207010"/>
                </a:cubicBezTo>
                <a:cubicBezTo>
                  <a:pt x="552795" y="207703"/>
                  <a:pt x="556024" y="209368"/>
                  <a:pt x="559155" y="210975"/>
                </a:cubicBezTo>
                <a:cubicBezTo>
                  <a:pt x="576061" y="219603"/>
                  <a:pt x="593341" y="227582"/>
                  <a:pt x="609202" y="238138"/>
                </a:cubicBezTo>
                <a:cubicBezTo>
                  <a:pt x="616941" y="239942"/>
                  <a:pt x="622612" y="245215"/>
                  <a:pt x="628967" y="249417"/>
                </a:cubicBezTo>
                <a:cubicBezTo>
                  <a:pt x="633934" y="252684"/>
                  <a:pt x="639699" y="254681"/>
                  <a:pt x="644312" y="258675"/>
                </a:cubicBezTo>
                <a:cubicBezTo>
                  <a:pt x="645294" y="259509"/>
                  <a:pt x="646857" y="260145"/>
                  <a:pt x="648172" y="260172"/>
                </a:cubicBezTo>
                <a:cubicBezTo>
                  <a:pt x="653911" y="260487"/>
                  <a:pt x="657984" y="263572"/>
                  <a:pt x="661803" y="267442"/>
                </a:cubicBezTo>
                <a:cubicBezTo>
                  <a:pt x="663019" y="268677"/>
                  <a:pt x="664376" y="270592"/>
                  <a:pt x="665840" y="270705"/>
                </a:cubicBezTo>
                <a:cubicBezTo>
                  <a:pt x="674035" y="271374"/>
                  <a:pt x="679474" y="277511"/>
                  <a:pt x="686270" y="280835"/>
                </a:cubicBezTo>
                <a:cubicBezTo>
                  <a:pt x="695069" y="285183"/>
                  <a:pt x="703190" y="290937"/>
                  <a:pt x="711607" y="296063"/>
                </a:cubicBezTo>
                <a:cubicBezTo>
                  <a:pt x="726344" y="305105"/>
                  <a:pt x="741082" y="314146"/>
                  <a:pt x="755771" y="323159"/>
                </a:cubicBezTo>
                <a:cubicBezTo>
                  <a:pt x="768663" y="331135"/>
                  <a:pt x="781641" y="338961"/>
                  <a:pt x="794417" y="347137"/>
                </a:cubicBezTo>
                <a:cubicBezTo>
                  <a:pt x="800880" y="351267"/>
                  <a:pt x="806667" y="356340"/>
                  <a:pt x="814057" y="359209"/>
                </a:cubicBezTo>
                <a:cubicBezTo>
                  <a:pt x="819231" y="361197"/>
                  <a:pt x="823672" y="365026"/>
                  <a:pt x="828310" y="368170"/>
                </a:cubicBezTo>
                <a:cubicBezTo>
                  <a:pt x="837907" y="374709"/>
                  <a:pt x="847359" y="381499"/>
                  <a:pt x="857013" y="387939"/>
                </a:cubicBezTo>
                <a:cubicBezTo>
                  <a:pt x="865078" y="393327"/>
                  <a:pt x="872480" y="399865"/>
                  <a:pt x="881568" y="403714"/>
                </a:cubicBezTo>
                <a:cubicBezTo>
                  <a:pt x="883757" y="404645"/>
                  <a:pt x="886538" y="406051"/>
                  <a:pt x="887479" y="407993"/>
                </a:cubicBezTo>
                <a:cubicBezTo>
                  <a:pt x="890027" y="413259"/>
                  <a:pt x="894678" y="415345"/>
                  <a:pt x="899218" y="417966"/>
                </a:cubicBezTo>
                <a:cubicBezTo>
                  <a:pt x="901862" y="419493"/>
                  <a:pt x="903626" y="422776"/>
                  <a:pt x="906365" y="424024"/>
                </a:cubicBezTo>
                <a:cubicBezTo>
                  <a:pt x="916243" y="428462"/>
                  <a:pt x="922489" y="437463"/>
                  <a:pt x="931447" y="443034"/>
                </a:cubicBezTo>
                <a:cubicBezTo>
                  <a:pt x="936250" y="446007"/>
                  <a:pt x="940794" y="449429"/>
                  <a:pt x="945778" y="451975"/>
                </a:cubicBezTo>
                <a:cubicBezTo>
                  <a:pt x="950313" y="454259"/>
                  <a:pt x="954109" y="457250"/>
                  <a:pt x="957120" y="461252"/>
                </a:cubicBezTo>
                <a:cubicBezTo>
                  <a:pt x="962950" y="469014"/>
                  <a:pt x="970713" y="474695"/>
                  <a:pt x="979011" y="479221"/>
                </a:cubicBezTo>
                <a:cubicBezTo>
                  <a:pt x="986083" y="483104"/>
                  <a:pt x="991009" y="488744"/>
                  <a:pt x="995949" y="494593"/>
                </a:cubicBezTo>
                <a:cubicBezTo>
                  <a:pt x="997541" y="496445"/>
                  <a:pt x="998587" y="498780"/>
                  <a:pt x="999935" y="500824"/>
                </a:cubicBezTo>
                <a:cubicBezTo>
                  <a:pt x="1002286" y="504358"/>
                  <a:pt x="1006012" y="506509"/>
                  <a:pt x="1011112" y="507277"/>
                </a:cubicBezTo>
                <a:cubicBezTo>
                  <a:pt x="1016261" y="513914"/>
                  <a:pt x="1015480" y="521719"/>
                  <a:pt x="1014577" y="529391"/>
                </a:cubicBezTo>
                <a:cubicBezTo>
                  <a:pt x="1014361" y="531264"/>
                  <a:pt x="1012679" y="533024"/>
                  <a:pt x="1011570" y="534713"/>
                </a:cubicBezTo>
                <a:cubicBezTo>
                  <a:pt x="1010086" y="537054"/>
                  <a:pt x="1007982" y="538970"/>
                  <a:pt x="1008224" y="542240"/>
                </a:cubicBezTo>
                <a:cubicBezTo>
                  <a:pt x="1008298" y="543147"/>
                  <a:pt x="1006889" y="544665"/>
                  <a:pt x="1005829" y="545119"/>
                </a:cubicBezTo>
                <a:cubicBezTo>
                  <a:pt x="1004052" y="545891"/>
                  <a:pt x="1003439" y="547069"/>
                  <a:pt x="1002537" y="548746"/>
                </a:cubicBezTo>
                <a:cubicBezTo>
                  <a:pt x="999198" y="554877"/>
                  <a:pt x="994833" y="555753"/>
                  <a:pt x="988704" y="552081"/>
                </a:cubicBezTo>
                <a:cubicBezTo>
                  <a:pt x="987307" y="551275"/>
                  <a:pt x="985822" y="550617"/>
                  <a:pt x="984496" y="549919"/>
                </a:cubicBezTo>
                <a:cubicBezTo>
                  <a:pt x="981844" y="552784"/>
                  <a:pt x="983367" y="555793"/>
                  <a:pt x="982477" y="559408"/>
                </a:cubicBezTo>
                <a:cubicBezTo>
                  <a:pt x="979701" y="561336"/>
                  <a:pt x="976280" y="563690"/>
                  <a:pt x="972779" y="566064"/>
                </a:cubicBezTo>
                <a:cubicBezTo>
                  <a:pt x="972078" y="572119"/>
                  <a:pt x="971319" y="578274"/>
                  <a:pt x="970667" y="584358"/>
                </a:cubicBezTo>
                <a:cubicBezTo>
                  <a:pt x="964927" y="588769"/>
                  <a:pt x="960495" y="594602"/>
                  <a:pt x="953092" y="595324"/>
                </a:cubicBezTo>
                <a:cubicBezTo>
                  <a:pt x="950768" y="603883"/>
                  <a:pt x="950686" y="610362"/>
                  <a:pt x="952848" y="614762"/>
                </a:cubicBezTo>
                <a:cubicBezTo>
                  <a:pt x="950028" y="615265"/>
                  <a:pt x="947338" y="615777"/>
                  <a:pt x="944104" y="616307"/>
                </a:cubicBezTo>
                <a:cubicBezTo>
                  <a:pt x="944309" y="618490"/>
                  <a:pt x="944562" y="620701"/>
                  <a:pt x="944798" y="623634"/>
                </a:cubicBezTo>
                <a:cubicBezTo>
                  <a:pt x="940031" y="623479"/>
                  <a:pt x="935571" y="623368"/>
                  <a:pt x="931268" y="623216"/>
                </a:cubicBezTo>
                <a:cubicBezTo>
                  <a:pt x="930335" y="625408"/>
                  <a:pt x="929754" y="627337"/>
                  <a:pt x="928702" y="628927"/>
                </a:cubicBezTo>
                <a:cubicBezTo>
                  <a:pt x="927544" y="630589"/>
                  <a:pt x="925864" y="631884"/>
                  <a:pt x="924212" y="633594"/>
                </a:cubicBezTo>
                <a:cubicBezTo>
                  <a:pt x="928052" y="640539"/>
                  <a:pt x="935056" y="645116"/>
                  <a:pt x="936591" y="654327"/>
                </a:cubicBezTo>
                <a:cubicBezTo>
                  <a:pt x="935199" y="661116"/>
                  <a:pt x="930785" y="667492"/>
                  <a:pt x="924668" y="673018"/>
                </a:cubicBezTo>
                <a:cubicBezTo>
                  <a:pt x="923003" y="674520"/>
                  <a:pt x="921731" y="675918"/>
                  <a:pt x="919436" y="675857"/>
                </a:cubicBezTo>
                <a:cubicBezTo>
                  <a:pt x="918793" y="675820"/>
                  <a:pt x="918127" y="676167"/>
                  <a:pt x="917439" y="676436"/>
                </a:cubicBezTo>
                <a:cubicBezTo>
                  <a:pt x="915297" y="677264"/>
                  <a:pt x="917408" y="681214"/>
                  <a:pt x="914321" y="681030"/>
                </a:cubicBezTo>
                <a:cubicBezTo>
                  <a:pt x="911799" y="680905"/>
                  <a:pt x="911440" y="682563"/>
                  <a:pt x="910882" y="684105"/>
                </a:cubicBezTo>
                <a:cubicBezTo>
                  <a:pt x="910389" y="685420"/>
                  <a:pt x="910125" y="686799"/>
                  <a:pt x="910040" y="688215"/>
                </a:cubicBezTo>
                <a:cubicBezTo>
                  <a:pt x="909905" y="690868"/>
                  <a:pt x="909187" y="692917"/>
                  <a:pt x="906508" y="694102"/>
                </a:cubicBezTo>
                <a:cubicBezTo>
                  <a:pt x="902926" y="695696"/>
                  <a:pt x="901971" y="699541"/>
                  <a:pt x="901005" y="702711"/>
                </a:cubicBezTo>
                <a:cubicBezTo>
                  <a:pt x="900366" y="704741"/>
                  <a:pt x="901703" y="707378"/>
                  <a:pt x="902183" y="710119"/>
                </a:cubicBezTo>
                <a:cubicBezTo>
                  <a:pt x="895408" y="720126"/>
                  <a:pt x="888380" y="730454"/>
                  <a:pt x="881064" y="741282"/>
                </a:cubicBezTo>
                <a:cubicBezTo>
                  <a:pt x="882660" y="743935"/>
                  <a:pt x="884205" y="746559"/>
                  <a:pt x="885851" y="749240"/>
                </a:cubicBezTo>
                <a:cubicBezTo>
                  <a:pt x="884887" y="750216"/>
                  <a:pt x="884217" y="751494"/>
                  <a:pt x="883466" y="751526"/>
                </a:cubicBezTo>
                <a:cubicBezTo>
                  <a:pt x="880020" y="751735"/>
                  <a:pt x="876517" y="751577"/>
                  <a:pt x="872593" y="751576"/>
                </a:cubicBezTo>
                <a:cubicBezTo>
                  <a:pt x="870361" y="753484"/>
                  <a:pt x="872041" y="756451"/>
                  <a:pt x="871489" y="759597"/>
                </a:cubicBezTo>
                <a:cubicBezTo>
                  <a:pt x="869906" y="760148"/>
                  <a:pt x="867867" y="760569"/>
                  <a:pt x="866133" y="761498"/>
                </a:cubicBezTo>
                <a:cubicBezTo>
                  <a:pt x="860672" y="764274"/>
                  <a:pt x="860243" y="765824"/>
                  <a:pt x="862781" y="772950"/>
                </a:cubicBezTo>
                <a:cubicBezTo>
                  <a:pt x="860955" y="773694"/>
                  <a:pt x="858809" y="775452"/>
                  <a:pt x="857338" y="775002"/>
                </a:cubicBezTo>
                <a:cubicBezTo>
                  <a:pt x="852907" y="773576"/>
                  <a:pt x="852052" y="777477"/>
                  <a:pt x="849533" y="779420"/>
                </a:cubicBezTo>
                <a:cubicBezTo>
                  <a:pt x="849986" y="783012"/>
                  <a:pt x="850454" y="786812"/>
                  <a:pt x="851010" y="791263"/>
                </a:cubicBezTo>
                <a:cubicBezTo>
                  <a:pt x="846716" y="793977"/>
                  <a:pt x="844099" y="798395"/>
                  <a:pt x="841646" y="803105"/>
                </a:cubicBezTo>
                <a:cubicBezTo>
                  <a:pt x="838875" y="808366"/>
                  <a:pt x="835705" y="813394"/>
                  <a:pt x="831067" y="817510"/>
                </a:cubicBezTo>
                <a:cubicBezTo>
                  <a:pt x="827491" y="820707"/>
                  <a:pt x="825082" y="825110"/>
                  <a:pt x="821434" y="829930"/>
                </a:cubicBezTo>
                <a:cubicBezTo>
                  <a:pt x="819825" y="830067"/>
                  <a:pt x="817101" y="830292"/>
                  <a:pt x="814140" y="830581"/>
                </a:cubicBezTo>
                <a:cubicBezTo>
                  <a:pt x="812963" y="832965"/>
                  <a:pt x="811758" y="835398"/>
                  <a:pt x="810516" y="838012"/>
                </a:cubicBezTo>
                <a:cubicBezTo>
                  <a:pt x="809565" y="837929"/>
                  <a:pt x="808342" y="838089"/>
                  <a:pt x="807543" y="837628"/>
                </a:cubicBezTo>
                <a:cubicBezTo>
                  <a:pt x="799184" y="832402"/>
                  <a:pt x="790912" y="827027"/>
                  <a:pt x="782611" y="821701"/>
                </a:cubicBezTo>
                <a:cubicBezTo>
                  <a:pt x="780872" y="820564"/>
                  <a:pt x="779380" y="818770"/>
                  <a:pt x="777453" y="818191"/>
                </a:cubicBezTo>
                <a:cubicBezTo>
                  <a:pt x="765761" y="814703"/>
                  <a:pt x="758225" y="804825"/>
                  <a:pt x="747218" y="800268"/>
                </a:cubicBezTo>
                <a:cubicBezTo>
                  <a:pt x="747564" y="799669"/>
                  <a:pt x="747939" y="799019"/>
                  <a:pt x="748285" y="798420"/>
                </a:cubicBezTo>
                <a:lnTo>
                  <a:pt x="761657" y="806141"/>
                </a:lnTo>
                <a:cubicBezTo>
                  <a:pt x="756577" y="800077"/>
                  <a:pt x="752694" y="792974"/>
                  <a:pt x="745119" y="789732"/>
                </a:cubicBezTo>
                <a:cubicBezTo>
                  <a:pt x="743985" y="789277"/>
                  <a:pt x="743204" y="788094"/>
                  <a:pt x="742193" y="787310"/>
                </a:cubicBezTo>
                <a:cubicBezTo>
                  <a:pt x="740241" y="785851"/>
                  <a:pt x="738405" y="784191"/>
                  <a:pt x="736302" y="783110"/>
                </a:cubicBezTo>
                <a:cubicBezTo>
                  <a:pt x="735353" y="782563"/>
                  <a:pt x="733430" y="782784"/>
                  <a:pt x="732511" y="783453"/>
                </a:cubicBezTo>
                <a:cubicBezTo>
                  <a:pt x="730439" y="784853"/>
                  <a:pt x="732196" y="786534"/>
                  <a:pt x="732896" y="788204"/>
                </a:cubicBezTo>
                <a:cubicBezTo>
                  <a:pt x="730376" y="788879"/>
                  <a:pt x="727494" y="789147"/>
                  <a:pt x="726746" y="792977"/>
                </a:cubicBezTo>
                <a:cubicBezTo>
                  <a:pt x="727771" y="793968"/>
                  <a:pt x="728994" y="795074"/>
                  <a:pt x="730360" y="796397"/>
                </a:cubicBezTo>
                <a:cubicBezTo>
                  <a:pt x="729689" y="796408"/>
                  <a:pt x="729059" y="796577"/>
                  <a:pt x="728660" y="796346"/>
                </a:cubicBezTo>
                <a:cubicBezTo>
                  <a:pt x="725317" y="794416"/>
                  <a:pt x="721981" y="792358"/>
                  <a:pt x="718581" y="790527"/>
                </a:cubicBezTo>
                <a:cubicBezTo>
                  <a:pt x="715479" y="788870"/>
                  <a:pt x="712380" y="786748"/>
                  <a:pt x="709067" y="786034"/>
                </a:cubicBezTo>
                <a:cubicBezTo>
                  <a:pt x="702034" y="784504"/>
                  <a:pt x="696033" y="780840"/>
                  <a:pt x="689650" y="777953"/>
                </a:cubicBezTo>
                <a:cubicBezTo>
                  <a:pt x="680549" y="773897"/>
                  <a:pt x="672441" y="768352"/>
                  <a:pt x="664227" y="762876"/>
                </a:cubicBezTo>
                <a:cubicBezTo>
                  <a:pt x="643137" y="748702"/>
                  <a:pt x="621991" y="734628"/>
                  <a:pt x="600845" y="720555"/>
                </a:cubicBezTo>
                <a:cubicBezTo>
                  <a:pt x="580888" y="707301"/>
                  <a:pt x="560910" y="693969"/>
                  <a:pt x="540838" y="680915"/>
                </a:cubicBezTo>
                <a:cubicBezTo>
                  <a:pt x="514503" y="663845"/>
                  <a:pt x="487944" y="647046"/>
                  <a:pt x="461493" y="630177"/>
                </a:cubicBezTo>
                <a:cubicBezTo>
                  <a:pt x="446329" y="620490"/>
                  <a:pt x="431079" y="610952"/>
                  <a:pt x="415944" y="601215"/>
                </a:cubicBezTo>
                <a:cubicBezTo>
                  <a:pt x="407643" y="595890"/>
                  <a:pt x="399205" y="590685"/>
                  <a:pt x="391242" y="584889"/>
                </a:cubicBezTo>
                <a:cubicBezTo>
                  <a:pt x="385900" y="581005"/>
                  <a:pt x="380456" y="577529"/>
                  <a:pt x="374602" y="574416"/>
                </a:cubicBezTo>
                <a:cubicBezTo>
                  <a:pt x="370674" y="572348"/>
                  <a:pt x="367640" y="568731"/>
                  <a:pt x="363835" y="566334"/>
                </a:cubicBezTo>
                <a:cubicBezTo>
                  <a:pt x="360007" y="563859"/>
                  <a:pt x="355641" y="562203"/>
                  <a:pt x="351729" y="559878"/>
                </a:cubicBezTo>
                <a:cubicBezTo>
                  <a:pt x="349633" y="558668"/>
                  <a:pt x="347775" y="556930"/>
                  <a:pt x="346126" y="555178"/>
                </a:cubicBezTo>
                <a:cubicBezTo>
                  <a:pt x="342222" y="550992"/>
                  <a:pt x="337411" y="548148"/>
                  <a:pt x="332189" y="546133"/>
                </a:cubicBezTo>
                <a:cubicBezTo>
                  <a:pt x="325803" y="543710"/>
                  <a:pt x="320180" y="540198"/>
                  <a:pt x="314904" y="536086"/>
                </a:cubicBezTo>
                <a:cubicBezTo>
                  <a:pt x="312191" y="533987"/>
                  <a:pt x="310175" y="531025"/>
                  <a:pt x="307175" y="527695"/>
                </a:cubicBezTo>
                <a:cubicBezTo>
                  <a:pt x="304278" y="528219"/>
                  <a:pt x="300762" y="527855"/>
                  <a:pt x="297264" y="525502"/>
                </a:cubicBezTo>
                <a:cubicBezTo>
                  <a:pt x="283387" y="515892"/>
                  <a:pt x="269258" y="506602"/>
                  <a:pt x="255186" y="497212"/>
                </a:cubicBezTo>
                <a:cubicBezTo>
                  <a:pt x="246102" y="491169"/>
                  <a:pt x="236968" y="485096"/>
                  <a:pt x="227826" y="479152"/>
                </a:cubicBezTo>
                <a:cubicBezTo>
                  <a:pt x="213619" y="469883"/>
                  <a:pt x="199403" y="460744"/>
                  <a:pt x="185166" y="451525"/>
                </a:cubicBezTo>
                <a:cubicBezTo>
                  <a:pt x="170330" y="441961"/>
                  <a:pt x="155546" y="432425"/>
                  <a:pt x="140710" y="422861"/>
                </a:cubicBezTo>
                <a:cubicBezTo>
                  <a:pt x="126494" y="413722"/>
                  <a:pt x="112229" y="404553"/>
                  <a:pt x="97956" y="395513"/>
                </a:cubicBezTo>
                <a:cubicBezTo>
                  <a:pt x="85421" y="387610"/>
                  <a:pt x="72734" y="380085"/>
                  <a:pt x="60286" y="372034"/>
                </a:cubicBezTo>
                <a:cubicBezTo>
                  <a:pt x="52932" y="367254"/>
                  <a:pt x="45897" y="361927"/>
                  <a:pt x="38795" y="356828"/>
                </a:cubicBezTo>
                <a:cubicBezTo>
                  <a:pt x="29963" y="350463"/>
                  <a:pt x="21109" y="344020"/>
                  <a:pt x="12334" y="337555"/>
                </a:cubicBezTo>
                <a:cubicBezTo>
                  <a:pt x="8132" y="334463"/>
                  <a:pt x="3995" y="331142"/>
                  <a:pt x="0" y="328036"/>
                </a:cubicBezTo>
                <a:cubicBezTo>
                  <a:pt x="927" y="324242"/>
                  <a:pt x="3820" y="324647"/>
                  <a:pt x="5940" y="323740"/>
                </a:cubicBezTo>
                <a:cubicBezTo>
                  <a:pt x="9837" y="322061"/>
                  <a:pt x="10455" y="319954"/>
                  <a:pt x="7935" y="316367"/>
                </a:cubicBezTo>
                <a:cubicBezTo>
                  <a:pt x="6721" y="314667"/>
                  <a:pt x="5292" y="313110"/>
                  <a:pt x="3579" y="311121"/>
                </a:cubicBezTo>
                <a:lnTo>
                  <a:pt x="12086" y="296387"/>
                </a:lnTo>
                <a:cubicBezTo>
                  <a:pt x="7757" y="291556"/>
                  <a:pt x="8590" y="285044"/>
                  <a:pt x="5541" y="279953"/>
                </a:cubicBezTo>
                <a:cubicBezTo>
                  <a:pt x="5023" y="279122"/>
                  <a:pt x="4494" y="277618"/>
                  <a:pt x="4941" y="277076"/>
                </a:cubicBezTo>
                <a:cubicBezTo>
                  <a:pt x="8488" y="272198"/>
                  <a:pt x="5230" y="267586"/>
                  <a:pt x="4588" y="262821"/>
                </a:cubicBezTo>
                <a:cubicBezTo>
                  <a:pt x="4383" y="261103"/>
                  <a:pt x="4098" y="259408"/>
                  <a:pt x="3779" y="257425"/>
                </a:cubicBezTo>
                <a:cubicBezTo>
                  <a:pt x="6611" y="257129"/>
                  <a:pt x="9028" y="256859"/>
                  <a:pt x="11861" y="256563"/>
                </a:cubicBezTo>
                <a:cubicBezTo>
                  <a:pt x="13056" y="254723"/>
                  <a:pt x="14367" y="252682"/>
                  <a:pt x="15959" y="250271"/>
                </a:cubicBezTo>
                <a:cubicBezTo>
                  <a:pt x="24538" y="252694"/>
                  <a:pt x="33169" y="255146"/>
                  <a:pt x="41720" y="257619"/>
                </a:cubicBezTo>
                <a:cubicBezTo>
                  <a:pt x="44388" y="250234"/>
                  <a:pt x="44291" y="249247"/>
                  <a:pt x="39651" y="245302"/>
                </a:cubicBezTo>
                <a:cubicBezTo>
                  <a:pt x="31593" y="238518"/>
                  <a:pt x="23427" y="231806"/>
                  <a:pt x="15731" y="225431"/>
                </a:cubicBezTo>
                <a:cubicBezTo>
                  <a:pt x="15014" y="221487"/>
                  <a:pt x="15004" y="217819"/>
                  <a:pt x="13639" y="214766"/>
                </a:cubicBezTo>
                <a:cubicBezTo>
                  <a:pt x="12479" y="212166"/>
                  <a:pt x="9808" y="210223"/>
                  <a:pt x="7754" y="207906"/>
                </a:cubicBezTo>
                <a:cubicBezTo>
                  <a:pt x="8909" y="207174"/>
                  <a:pt x="9519" y="206460"/>
                  <a:pt x="9976" y="206591"/>
                </a:cubicBezTo>
                <a:cubicBezTo>
                  <a:pt x="12675" y="207217"/>
                  <a:pt x="15307" y="208536"/>
                  <a:pt x="18082" y="206609"/>
                </a:cubicBezTo>
                <a:cubicBezTo>
                  <a:pt x="21454" y="204227"/>
                  <a:pt x="23444" y="200780"/>
                  <a:pt x="24063" y="196942"/>
                </a:cubicBezTo>
                <a:cubicBezTo>
                  <a:pt x="24601" y="193590"/>
                  <a:pt x="25015" y="189300"/>
                  <a:pt x="23413" y="186776"/>
                </a:cubicBezTo>
                <a:cubicBezTo>
                  <a:pt x="20369" y="182022"/>
                  <a:pt x="22162" y="177995"/>
                  <a:pt x="23248" y="173694"/>
                </a:cubicBezTo>
                <a:cubicBezTo>
                  <a:pt x="23445" y="173009"/>
                  <a:pt x="23791" y="172409"/>
                  <a:pt x="24094" y="171652"/>
                </a:cubicBezTo>
                <a:cubicBezTo>
                  <a:pt x="30720" y="168818"/>
                  <a:pt x="34046" y="162480"/>
                  <a:pt x="38390" y="157263"/>
                </a:cubicBezTo>
                <a:cubicBezTo>
                  <a:pt x="38726" y="157257"/>
                  <a:pt x="39198" y="157129"/>
                  <a:pt x="39448" y="157273"/>
                </a:cubicBezTo>
                <a:cubicBezTo>
                  <a:pt x="44792" y="160692"/>
                  <a:pt x="49782" y="164839"/>
                  <a:pt x="55546" y="167301"/>
                </a:cubicBezTo>
                <a:cubicBezTo>
                  <a:pt x="61331" y="169841"/>
                  <a:pt x="67398" y="171547"/>
                  <a:pt x="72525" y="175571"/>
                </a:cubicBezTo>
                <a:cubicBezTo>
                  <a:pt x="74127" y="176830"/>
                  <a:pt x="76349" y="177246"/>
                  <a:pt x="78252" y="178212"/>
                </a:cubicBezTo>
                <a:cubicBezTo>
                  <a:pt x="81382" y="179820"/>
                  <a:pt x="84570" y="181327"/>
                  <a:pt x="87556" y="183185"/>
                </a:cubicBezTo>
                <a:cubicBezTo>
                  <a:pt x="97462" y="189303"/>
                  <a:pt x="107260" y="195492"/>
                  <a:pt x="117942" y="200728"/>
                </a:cubicBezTo>
                <a:cubicBezTo>
                  <a:pt x="117068" y="199823"/>
                  <a:pt x="116301" y="198847"/>
                  <a:pt x="115318" y="198013"/>
                </a:cubicBezTo>
                <a:cubicBezTo>
                  <a:pt x="111680" y="194981"/>
                  <a:pt x="111630" y="194952"/>
                  <a:pt x="112574" y="189170"/>
                </a:cubicBezTo>
                <a:cubicBezTo>
                  <a:pt x="109882" y="187150"/>
                  <a:pt x="107069" y="184992"/>
                  <a:pt x="104106" y="182749"/>
                </a:cubicBezTo>
                <a:cubicBezTo>
                  <a:pt x="104175" y="180325"/>
                  <a:pt x="104137" y="177972"/>
                  <a:pt x="104183" y="175934"/>
                </a:cubicBezTo>
                <a:cubicBezTo>
                  <a:pt x="90612" y="165102"/>
                  <a:pt x="77439" y="154499"/>
                  <a:pt x="64018" y="143754"/>
                </a:cubicBezTo>
                <a:cubicBezTo>
                  <a:pt x="64296" y="140851"/>
                  <a:pt x="64589" y="138156"/>
                  <a:pt x="64881" y="135461"/>
                </a:cubicBezTo>
                <a:lnTo>
                  <a:pt x="64904" y="135075"/>
                </a:lnTo>
                <a:cubicBezTo>
                  <a:pt x="63528" y="133081"/>
                  <a:pt x="62171" y="131166"/>
                  <a:pt x="60795" y="129173"/>
                </a:cubicBezTo>
                <a:cubicBezTo>
                  <a:pt x="61813" y="128561"/>
                  <a:pt x="62424" y="127849"/>
                  <a:pt x="62831" y="127950"/>
                </a:cubicBezTo>
                <a:cubicBezTo>
                  <a:pt x="66864" y="129147"/>
                  <a:pt x="70838" y="130443"/>
                  <a:pt x="75349" y="131847"/>
                </a:cubicBezTo>
                <a:cubicBezTo>
                  <a:pt x="76958" y="130446"/>
                  <a:pt x="78731" y="128872"/>
                  <a:pt x="80856" y="127035"/>
                </a:cubicBezTo>
                <a:cubicBezTo>
                  <a:pt x="81861" y="127482"/>
                  <a:pt x="83261" y="127824"/>
                  <a:pt x="84322" y="128636"/>
                </a:cubicBezTo>
                <a:cubicBezTo>
                  <a:pt x="93746" y="135476"/>
                  <a:pt x="103140" y="142365"/>
                  <a:pt x="112535" y="149254"/>
                </a:cubicBezTo>
                <a:cubicBezTo>
                  <a:pt x="113945" y="150268"/>
                  <a:pt x="115376" y="151361"/>
                  <a:pt x="116952" y="152204"/>
                </a:cubicBezTo>
                <a:cubicBezTo>
                  <a:pt x="119404" y="153487"/>
                  <a:pt x="121774" y="152723"/>
                  <a:pt x="123926" y="151302"/>
                </a:cubicBezTo>
                <a:cubicBezTo>
                  <a:pt x="126155" y="149858"/>
                  <a:pt x="126715" y="146586"/>
                  <a:pt x="124721" y="144968"/>
                </a:cubicBezTo>
                <a:cubicBezTo>
                  <a:pt x="120664" y="141627"/>
                  <a:pt x="116361" y="138476"/>
                  <a:pt x="112167" y="135256"/>
                </a:cubicBezTo>
                <a:cubicBezTo>
                  <a:pt x="110515" y="133969"/>
                  <a:pt x="108569" y="132846"/>
                  <a:pt x="109551" y="129416"/>
                </a:cubicBezTo>
                <a:cubicBezTo>
                  <a:pt x="113290" y="130776"/>
                  <a:pt x="117001" y="132185"/>
                  <a:pt x="121624" y="133856"/>
                </a:cubicBezTo>
                <a:cubicBezTo>
                  <a:pt x="121425" y="130744"/>
                  <a:pt x="121294" y="128205"/>
                  <a:pt x="121039" y="124728"/>
                </a:cubicBezTo>
                <a:cubicBezTo>
                  <a:pt x="126266" y="127545"/>
                  <a:pt x="130763" y="130009"/>
                  <a:pt x="135340" y="132452"/>
                </a:cubicBezTo>
                <a:cubicBezTo>
                  <a:pt x="139080" y="129549"/>
                  <a:pt x="137097" y="125607"/>
                  <a:pt x="138090" y="122850"/>
                </a:cubicBezTo>
                <a:cubicBezTo>
                  <a:pt x="136940" y="118389"/>
                  <a:pt x="130910" y="117772"/>
                  <a:pt x="130624" y="111814"/>
                </a:cubicBezTo>
                <a:cubicBezTo>
                  <a:pt x="137648" y="113937"/>
                  <a:pt x="143973" y="115657"/>
                  <a:pt x="149480" y="119370"/>
                </a:cubicBezTo>
                <a:cubicBezTo>
                  <a:pt x="164122" y="129155"/>
                  <a:pt x="178726" y="139119"/>
                  <a:pt x="193368" y="148904"/>
                </a:cubicBezTo>
                <a:cubicBezTo>
                  <a:pt x="205379" y="156904"/>
                  <a:pt x="217558" y="164735"/>
                  <a:pt x="229735" y="172564"/>
                </a:cubicBezTo>
                <a:cubicBezTo>
                  <a:pt x="231972" y="173990"/>
                  <a:pt x="234549" y="174944"/>
                  <a:pt x="237058" y="176127"/>
                </a:cubicBezTo>
                <a:cubicBezTo>
                  <a:pt x="238366" y="173285"/>
                  <a:pt x="236327" y="172440"/>
                  <a:pt x="235116" y="171542"/>
                </a:cubicBezTo>
                <a:cubicBezTo>
                  <a:pt x="224610" y="163812"/>
                  <a:pt x="214047" y="156181"/>
                  <a:pt x="203492" y="148422"/>
                </a:cubicBezTo>
                <a:cubicBezTo>
                  <a:pt x="189304" y="137966"/>
                  <a:pt x="175173" y="127411"/>
                  <a:pt x="161015" y="116905"/>
                </a:cubicBezTo>
                <a:cubicBezTo>
                  <a:pt x="154840" y="112275"/>
                  <a:pt x="148291" y="108293"/>
                  <a:pt x="143626" y="101738"/>
                </a:cubicBezTo>
                <a:cubicBezTo>
                  <a:pt x="140865" y="97879"/>
                  <a:pt x="136109" y="95400"/>
                  <a:pt x="132322" y="92281"/>
                </a:cubicBezTo>
                <a:cubicBezTo>
                  <a:pt x="130478" y="90750"/>
                  <a:pt x="128634" y="89220"/>
                  <a:pt x="126570" y="87494"/>
                </a:cubicBezTo>
                <a:cubicBezTo>
                  <a:pt x="128345" y="84190"/>
                  <a:pt x="131694" y="84725"/>
                  <a:pt x="133895" y="83333"/>
                </a:cubicBezTo>
                <a:cubicBezTo>
                  <a:pt x="135940" y="81982"/>
                  <a:pt x="138246" y="80982"/>
                  <a:pt x="140453" y="79926"/>
                </a:cubicBezTo>
                <a:cubicBezTo>
                  <a:pt x="141728" y="79330"/>
                  <a:pt x="143116" y="78999"/>
                  <a:pt x="144392" y="78404"/>
                </a:cubicBezTo>
                <a:cubicBezTo>
                  <a:pt x="150703" y="75654"/>
                  <a:pt x="151911" y="72755"/>
                  <a:pt x="149673" y="65801"/>
                </a:cubicBezTo>
                <a:cubicBezTo>
                  <a:pt x="149370" y="64828"/>
                  <a:pt x="148831" y="63917"/>
                  <a:pt x="148421" y="63014"/>
                </a:cubicBezTo>
                <a:cubicBezTo>
                  <a:pt x="152767" y="58331"/>
                  <a:pt x="156312" y="50810"/>
                  <a:pt x="159053" y="40449"/>
                </a:cubicBezTo>
                <a:cubicBezTo>
                  <a:pt x="155638" y="35879"/>
                  <a:pt x="149647" y="31622"/>
                  <a:pt x="155225" y="23920"/>
                </a:cubicBezTo>
                <a:cubicBezTo>
                  <a:pt x="159821" y="26906"/>
                  <a:pt x="164388" y="29942"/>
                  <a:pt x="169033" y="32958"/>
                </a:cubicBezTo>
                <a:cubicBezTo>
                  <a:pt x="172560" y="35261"/>
                  <a:pt x="175852" y="37626"/>
                  <a:pt x="180674" y="36880"/>
                </a:cubicBezTo>
                <a:cubicBezTo>
                  <a:pt x="182655" y="36559"/>
                  <a:pt x="185262" y="38265"/>
                  <a:pt x="187271" y="39625"/>
                </a:cubicBezTo>
                <a:cubicBezTo>
                  <a:pt x="209964" y="54591"/>
                  <a:pt x="232493" y="69729"/>
                  <a:pt x="255272" y="84546"/>
                </a:cubicBezTo>
                <a:cubicBezTo>
                  <a:pt x="264115" y="90317"/>
                  <a:pt x="273576" y="95246"/>
                  <a:pt x="282679" y="100568"/>
                </a:cubicBezTo>
                <a:cubicBezTo>
                  <a:pt x="285173" y="102008"/>
                  <a:pt x="287655" y="103242"/>
                  <a:pt x="291371" y="101991"/>
                </a:cubicBezTo>
                <a:cubicBezTo>
                  <a:pt x="290157" y="100290"/>
                  <a:pt x="289423" y="98335"/>
                  <a:pt x="287962" y="97292"/>
                </a:cubicBezTo>
                <a:cubicBezTo>
                  <a:pt x="280570" y="91891"/>
                  <a:pt x="273039" y="86612"/>
                  <a:pt x="265453" y="81433"/>
                </a:cubicBezTo>
                <a:cubicBezTo>
                  <a:pt x="255885" y="74843"/>
                  <a:pt x="246202" y="68454"/>
                  <a:pt x="236677" y="62021"/>
                </a:cubicBezTo>
                <a:cubicBezTo>
                  <a:pt x="236625" y="59461"/>
                  <a:pt x="236592" y="57443"/>
                  <a:pt x="236545" y="55219"/>
                </a:cubicBezTo>
                <a:cubicBezTo>
                  <a:pt x="230029" y="51989"/>
                  <a:pt x="226235" y="45537"/>
                  <a:pt x="220093" y="41658"/>
                </a:cubicBezTo>
                <a:cubicBezTo>
                  <a:pt x="213580" y="37498"/>
                  <a:pt x="207694" y="32368"/>
                  <a:pt x="201527" y="27609"/>
                </a:cubicBezTo>
                <a:cubicBezTo>
                  <a:pt x="195681" y="23101"/>
                  <a:pt x="189813" y="18514"/>
                  <a:pt x="184116" y="14094"/>
                </a:cubicBezTo>
                <a:cubicBezTo>
                  <a:pt x="183782" y="9372"/>
                  <a:pt x="183404" y="4957"/>
                  <a:pt x="183006" y="0"/>
                </a:cubicBezTo>
                <a:close/>
              </a:path>
            </a:pathLst>
          </a:custGeom>
          <a:solidFill>
            <a:schemeClr val="accent3"/>
          </a:solidFill>
        </p:spPr>
        <p:txBody>
          <a:bodyPr wrap="square">
            <a:noAutofit/>
          </a:bodyPr>
          <a:lstStyle>
            <a:lvl1pPr marL="0" indent="0">
              <a:buNone/>
              <a:defRPr>
                <a:noFill/>
              </a:defRPr>
            </a:lvl1pPr>
          </a:lstStyle>
          <a:p>
            <a:pPr lvl="0"/>
            <a:endParaRPr lang="de-DE" dirty="0"/>
          </a:p>
        </p:txBody>
      </p:sp>
      <p:sp>
        <p:nvSpPr>
          <p:cNvPr id="16" name="Textplatzhalter 17">
            <a:extLst>
              <a:ext uri="{FF2B5EF4-FFF2-40B4-BE49-F238E27FC236}">
                <a16:creationId xmlns:a16="http://schemas.microsoft.com/office/drawing/2014/main" id="{57C0EC8B-E822-1517-51D8-948117EE4B61}"/>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20" name="Textplatzhalter 19">
            <a:extLst>
              <a:ext uri="{FF2B5EF4-FFF2-40B4-BE49-F238E27FC236}">
                <a16:creationId xmlns:a16="http://schemas.microsoft.com/office/drawing/2014/main" id="{06742E17-7A10-78DA-877D-83EE31E725DC}"/>
              </a:ext>
            </a:extLst>
          </p:cNvPr>
          <p:cNvSpPr>
            <a:spLocks noGrp="1"/>
          </p:cNvSpPr>
          <p:nvPr>
            <p:ph type="body" sz="quarter" idx="14"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3"/>
                </a:solidFill>
                <a:latin typeface="+mn-lt"/>
              </a:defRPr>
            </a:lvl1pPr>
          </a:lstStyle>
          <a:p>
            <a:pPr lvl="0"/>
            <a:r>
              <a:rPr lang="de-DE" dirty="0"/>
              <a:t>Überschrift</a:t>
            </a:r>
          </a:p>
        </p:txBody>
      </p:sp>
      <p:sp>
        <p:nvSpPr>
          <p:cNvPr id="3" name="Foliennummernplatzhalter 5">
            <a:extLst>
              <a:ext uri="{FF2B5EF4-FFF2-40B4-BE49-F238E27FC236}">
                <a16:creationId xmlns:a16="http://schemas.microsoft.com/office/drawing/2014/main" id="{2A73E047-9E09-B0CA-78A5-C512954B65CA}"/>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40705988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el + Grafik + Inhalt_01">
    <p:spTree>
      <p:nvGrpSpPr>
        <p:cNvPr id="1" name=""/>
        <p:cNvGrpSpPr/>
        <p:nvPr/>
      </p:nvGrpSpPr>
      <p:grpSpPr>
        <a:xfrm>
          <a:off x="0" y="0"/>
          <a:ext cx="0" cy="0"/>
          <a:chOff x="0" y="0"/>
          <a:chExt cx="0" cy="0"/>
        </a:xfrm>
      </p:grpSpPr>
      <p:sp>
        <p:nvSpPr>
          <p:cNvPr id="7" name="Inhaltsplatzhalter 5">
            <a:extLst>
              <a:ext uri="{FF2B5EF4-FFF2-40B4-BE49-F238E27FC236}">
                <a16:creationId xmlns:a16="http://schemas.microsoft.com/office/drawing/2014/main" id="{A45D911B-0D0C-1D88-EC4C-950F851452BC}"/>
              </a:ext>
            </a:extLst>
          </p:cNvPr>
          <p:cNvSpPr>
            <a:spLocks noGrp="1" noRot="1" noMove="1" noResize="1" noEditPoints="1" noAdjustHandles="1" noChangeArrowheads="1" noChangeShapeType="1"/>
          </p:cNvSpPr>
          <p:nvPr>
            <p:ph sz="quarter" idx="11" hasCustomPrompt="1"/>
          </p:nvPr>
        </p:nvSpPr>
        <p:spPr>
          <a:xfrm>
            <a:off x="811358" y="1925782"/>
            <a:ext cx="6493166" cy="4122449"/>
          </a:xfrm>
          <a:prstGeom prst="roundRect">
            <a:avLst>
              <a:gd name="adj" fmla="val 2541"/>
            </a:avLst>
          </a:prstGeom>
          <a:solidFill>
            <a:schemeClr val="bg1">
              <a:lumMod val="95000"/>
            </a:schemeClr>
          </a:solidFill>
        </p:spPr>
        <p:txBody>
          <a:bodyPr anchor="ctr"/>
          <a:lstStyle>
            <a:lvl1pPr marL="0" indent="0" algn="ctr">
              <a:buNone/>
              <a:defRPr sz="1200" spc="100" baseline="0">
                <a:solidFill>
                  <a:schemeClr val="tx1">
                    <a:lumMod val="75000"/>
                    <a:lumOff val="25000"/>
                  </a:schemeClr>
                </a:solidFill>
              </a:defRPr>
            </a:lvl1pPr>
          </a:lstStyle>
          <a:p>
            <a:pPr lvl="0"/>
            <a:r>
              <a:rPr lang="de-DE" dirty="0"/>
              <a:t>Inhalt hier einfügen</a:t>
            </a:r>
          </a:p>
        </p:txBody>
      </p:sp>
      <p:sp>
        <p:nvSpPr>
          <p:cNvPr id="15" name="Textplatzhalter 14">
            <a:extLst>
              <a:ext uri="{FF2B5EF4-FFF2-40B4-BE49-F238E27FC236}">
                <a16:creationId xmlns:a16="http://schemas.microsoft.com/office/drawing/2014/main" id="{6E855C7B-C85A-C41A-07CC-22C75D6BD16C}"/>
              </a:ext>
            </a:extLst>
          </p:cNvPr>
          <p:cNvSpPr>
            <a:spLocks noGrp="1" noRot="1" noMove="1" noResize="1" noEditPoints="1" noAdjustHandles="1" noChangeArrowheads="1" noChangeShapeType="1"/>
          </p:cNvSpPr>
          <p:nvPr>
            <p:ph type="body" sz="quarter" idx="13"/>
          </p:nvPr>
        </p:nvSpPr>
        <p:spPr>
          <a:xfrm rot="10800000">
            <a:off x="6553265" y="1667659"/>
            <a:ext cx="1015235" cy="838012"/>
          </a:xfrm>
          <a:custGeom>
            <a:avLst/>
            <a:gdLst>
              <a:gd name="connsiteX0" fmla="*/ 741388 w 1015235"/>
              <a:gd name="connsiteY0" fmla="*/ 792506 h 838012"/>
              <a:gd name="connsiteX1" fmla="*/ 742053 w 1015235"/>
              <a:gd name="connsiteY1" fmla="*/ 793890 h 838012"/>
              <a:gd name="connsiteX2" fmla="*/ 741117 w 1015235"/>
              <a:gd name="connsiteY2" fmla="*/ 794014 h 838012"/>
              <a:gd name="connsiteX3" fmla="*/ 740479 w 1015235"/>
              <a:gd name="connsiteY3" fmla="*/ 792582 h 838012"/>
              <a:gd name="connsiteX4" fmla="*/ 741388 w 1015235"/>
              <a:gd name="connsiteY4" fmla="*/ 792506 h 838012"/>
              <a:gd name="connsiteX5" fmla="*/ 1006181 w 1015235"/>
              <a:gd name="connsiteY5" fmla="*/ 556377 h 838012"/>
              <a:gd name="connsiteX6" fmla="*/ 1006916 w 1015235"/>
              <a:gd name="connsiteY6" fmla="*/ 556602 h 838012"/>
              <a:gd name="connsiteX7" fmla="*/ 1006478 w 1015235"/>
              <a:gd name="connsiteY7" fmla="*/ 557015 h 838012"/>
              <a:gd name="connsiteX8" fmla="*/ 183006 w 1015235"/>
              <a:gd name="connsiteY8" fmla="*/ 0 h 838012"/>
              <a:gd name="connsiteX9" fmla="*/ 191806 w 1015235"/>
              <a:gd name="connsiteY9" fmla="*/ 1350 h 838012"/>
              <a:gd name="connsiteX10" fmla="*/ 205143 w 1015235"/>
              <a:gd name="connsiteY10" fmla="*/ 4522 h 838012"/>
              <a:gd name="connsiteX11" fmla="*/ 237623 w 1015235"/>
              <a:gd name="connsiteY11" fmla="*/ 28003 h 838012"/>
              <a:gd name="connsiteX12" fmla="*/ 244727 w 1015235"/>
              <a:gd name="connsiteY12" fmla="*/ 32636 h 838012"/>
              <a:gd name="connsiteX13" fmla="*/ 265292 w 1015235"/>
              <a:gd name="connsiteY13" fmla="*/ 45642 h 838012"/>
              <a:gd name="connsiteX14" fmla="*/ 310214 w 1015235"/>
              <a:gd name="connsiteY14" fmla="*/ 75575 h 838012"/>
              <a:gd name="connsiteX15" fmla="*/ 322605 w 1015235"/>
              <a:gd name="connsiteY15" fmla="*/ 83727 h 838012"/>
              <a:gd name="connsiteX16" fmla="*/ 329832 w 1015235"/>
              <a:gd name="connsiteY16" fmla="*/ 88032 h 838012"/>
              <a:gd name="connsiteX17" fmla="*/ 366021 w 1015235"/>
              <a:gd name="connsiteY17" fmla="*/ 107394 h 838012"/>
              <a:gd name="connsiteX18" fmla="*/ 410877 w 1015235"/>
              <a:gd name="connsiteY18" fmla="*/ 133292 h 838012"/>
              <a:gd name="connsiteX19" fmla="*/ 416823 w 1015235"/>
              <a:gd name="connsiteY19" fmla="*/ 134861 h 838012"/>
              <a:gd name="connsiteX20" fmla="*/ 423032 w 1015235"/>
              <a:gd name="connsiteY20" fmla="*/ 135515 h 838012"/>
              <a:gd name="connsiteX21" fmla="*/ 425625 w 1015235"/>
              <a:gd name="connsiteY21" fmla="*/ 141740 h 838012"/>
              <a:gd name="connsiteX22" fmla="*/ 438865 w 1015235"/>
              <a:gd name="connsiteY22" fmla="*/ 145655 h 838012"/>
              <a:gd name="connsiteX23" fmla="*/ 443466 w 1015235"/>
              <a:gd name="connsiteY23" fmla="*/ 147712 h 838012"/>
              <a:gd name="connsiteX24" fmla="*/ 469903 w 1015235"/>
              <a:gd name="connsiteY24" fmla="*/ 164374 h 838012"/>
              <a:gd name="connsiteX25" fmla="*/ 514446 w 1015235"/>
              <a:gd name="connsiteY25" fmla="*/ 188625 h 838012"/>
              <a:gd name="connsiteX26" fmla="*/ 523778 w 1015235"/>
              <a:gd name="connsiteY26" fmla="*/ 193547 h 838012"/>
              <a:gd name="connsiteX27" fmla="*/ 530107 w 1015235"/>
              <a:gd name="connsiteY27" fmla="*/ 197335 h 838012"/>
              <a:gd name="connsiteX28" fmla="*/ 549403 w 1015235"/>
              <a:gd name="connsiteY28" fmla="*/ 207010 h 838012"/>
              <a:gd name="connsiteX29" fmla="*/ 559155 w 1015235"/>
              <a:gd name="connsiteY29" fmla="*/ 210975 h 838012"/>
              <a:gd name="connsiteX30" fmla="*/ 609202 w 1015235"/>
              <a:gd name="connsiteY30" fmla="*/ 238138 h 838012"/>
              <a:gd name="connsiteX31" fmla="*/ 628967 w 1015235"/>
              <a:gd name="connsiteY31" fmla="*/ 249417 h 838012"/>
              <a:gd name="connsiteX32" fmla="*/ 644312 w 1015235"/>
              <a:gd name="connsiteY32" fmla="*/ 258675 h 838012"/>
              <a:gd name="connsiteX33" fmla="*/ 648172 w 1015235"/>
              <a:gd name="connsiteY33" fmla="*/ 260172 h 838012"/>
              <a:gd name="connsiteX34" fmla="*/ 661803 w 1015235"/>
              <a:gd name="connsiteY34" fmla="*/ 267442 h 838012"/>
              <a:gd name="connsiteX35" fmla="*/ 665840 w 1015235"/>
              <a:gd name="connsiteY35" fmla="*/ 270705 h 838012"/>
              <a:gd name="connsiteX36" fmla="*/ 686270 w 1015235"/>
              <a:gd name="connsiteY36" fmla="*/ 280835 h 838012"/>
              <a:gd name="connsiteX37" fmla="*/ 711607 w 1015235"/>
              <a:gd name="connsiteY37" fmla="*/ 296063 h 838012"/>
              <a:gd name="connsiteX38" fmla="*/ 755771 w 1015235"/>
              <a:gd name="connsiteY38" fmla="*/ 323159 h 838012"/>
              <a:gd name="connsiteX39" fmla="*/ 794417 w 1015235"/>
              <a:gd name="connsiteY39" fmla="*/ 347137 h 838012"/>
              <a:gd name="connsiteX40" fmla="*/ 814057 w 1015235"/>
              <a:gd name="connsiteY40" fmla="*/ 359209 h 838012"/>
              <a:gd name="connsiteX41" fmla="*/ 828310 w 1015235"/>
              <a:gd name="connsiteY41" fmla="*/ 368170 h 838012"/>
              <a:gd name="connsiteX42" fmla="*/ 857013 w 1015235"/>
              <a:gd name="connsiteY42" fmla="*/ 387939 h 838012"/>
              <a:gd name="connsiteX43" fmla="*/ 881568 w 1015235"/>
              <a:gd name="connsiteY43" fmla="*/ 403714 h 838012"/>
              <a:gd name="connsiteX44" fmla="*/ 887479 w 1015235"/>
              <a:gd name="connsiteY44" fmla="*/ 407993 h 838012"/>
              <a:gd name="connsiteX45" fmla="*/ 899218 w 1015235"/>
              <a:gd name="connsiteY45" fmla="*/ 417966 h 838012"/>
              <a:gd name="connsiteX46" fmla="*/ 906365 w 1015235"/>
              <a:gd name="connsiteY46" fmla="*/ 424024 h 838012"/>
              <a:gd name="connsiteX47" fmla="*/ 931447 w 1015235"/>
              <a:gd name="connsiteY47" fmla="*/ 443034 h 838012"/>
              <a:gd name="connsiteX48" fmla="*/ 945778 w 1015235"/>
              <a:gd name="connsiteY48" fmla="*/ 451975 h 838012"/>
              <a:gd name="connsiteX49" fmla="*/ 957120 w 1015235"/>
              <a:gd name="connsiteY49" fmla="*/ 461252 h 838012"/>
              <a:gd name="connsiteX50" fmla="*/ 979011 w 1015235"/>
              <a:gd name="connsiteY50" fmla="*/ 479221 h 838012"/>
              <a:gd name="connsiteX51" fmla="*/ 995949 w 1015235"/>
              <a:gd name="connsiteY51" fmla="*/ 494593 h 838012"/>
              <a:gd name="connsiteX52" fmla="*/ 999935 w 1015235"/>
              <a:gd name="connsiteY52" fmla="*/ 500824 h 838012"/>
              <a:gd name="connsiteX53" fmla="*/ 1011112 w 1015235"/>
              <a:gd name="connsiteY53" fmla="*/ 507277 h 838012"/>
              <a:gd name="connsiteX54" fmla="*/ 1014577 w 1015235"/>
              <a:gd name="connsiteY54" fmla="*/ 529391 h 838012"/>
              <a:gd name="connsiteX55" fmla="*/ 1011570 w 1015235"/>
              <a:gd name="connsiteY55" fmla="*/ 534713 h 838012"/>
              <a:gd name="connsiteX56" fmla="*/ 1008224 w 1015235"/>
              <a:gd name="connsiteY56" fmla="*/ 542240 h 838012"/>
              <a:gd name="connsiteX57" fmla="*/ 1005829 w 1015235"/>
              <a:gd name="connsiteY57" fmla="*/ 545119 h 838012"/>
              <a:gd name="connsiteX58" fmla="*/ 1002537 w 1015235"/>
              <a:gd name="connsiteY58" fmla="*/ 548746 h 838012"/>
              <a:gd name="connsiteX59" fmla="*/ 988704 w 1015235"/>
              <a:gd name="connsiteY59" fmla="*/ 552081 h 838012"/>
              <a:gd name="connsiteX60" fmla="*/ 984496 w 1015235"/>
              <a:gd name="connsiteY60" fmla="*/ 549919 h 838012"/>
              <a:gd name="connsiteX61" fmla="*/ 982477 w 1015235"/>
              <a:gd name="connsiteY61" fmla="*/ 559408 h 838012"/>
              <a:gd name="connsiteX62" fmla="*/ 972779 w 1015235"/>
              <a:gd name="connsiteY62" fmla="*/ 566064 h 838012"/>
              <a:gd name="connsiteX63" fmla="*/ 970667 w 1015235"/>
              <a:gd name="connsiteY63" fmla="*/ 584358 h 838012"/>
              <a:gd name="connsiteX64" fmla="*/ 953092 w 1015235"/>
              <a:gd name="connsiteY64" fmla="*/ 595324 h 838012"/>
              <a:gd name="connsiteX65" fmla="*/ 952848 w 1015235"/>
              <a:gd name="connsiteY65" fmla="*/ 614762 h 838012"/>
              <a:gd name="connsiteX66" fmla="*/ 944104 w 1015235"/>
              <a:gd name="connsiteY66" fmla="*/ 616307 h 838012"/>
              <a:gd name="connsiteX67" fmla="*/ 944798 w 1015235"/>
              <a:gd name="connsiteY67" fmla="*/ 623634 h 838012"/>
              <a:gd name="connsiteX68" fmla="*/ 931268 w 1015235"/>
              <a:gd name="connsiteY68" fmla="*/ 623216 h 838012"/>
              <a:gd name="connsiteX69" fmla="*/ 928702 w 1015235"/>
              <a:gd name="connsiteY69" fmla="*/ 628927 h 838012"/>
              <a:gd name="connsiteX70" fmla="*/ 924212 w 1015235"/>
              <a:gd name="connsiteY70" fmla="*/ 633594 h 838012"/>
              <a:gd name="connsiteX71" fmla="*/ 936591 w 1015235"/>
              <a:gd name="connsiteY71" fmla="*/ 654327 h 838012"/>
              <a:gd name="connsiteX72" fmla="*/ 924668 w 1015235"/>
              <a:gd name="connsiteY72" fmla="*/ 673018 h 838012"/>
              <a:gd name="connsiteX73" fmla="*/ 919436 w 1015235"/>
              <a:gd name="connsiteY73" fmla="*/ 675857 h 838012"/>
              <a:gd name="connsiteX74" fmla="*/ 917439 w 1015235"/>
              <a:gd name="connsiteY74" fmla="*/ 676436 h 838012"/>
              <a:gd name="connsiteX75" fmla="*/ 914321 w 1015235"/>
              <a:gd name="connsiteY75" fmla="*/ 681030 h 838012"/>
              <a:gd name="connsiteX76" fmla="*/ 910882 w 1015235"/>
              <a:gd name="connsiteY76" fmla="*/ 684105 h 838012"/>
              <a:gd name="connsiteX77" fmla="*/ 910040 w 1015235"/>
              <a:gd name="connsiteY77" fmla="*/ 688215 h 838012"/>
              <a:gd name="connsiteX78" fmla="*/ 906508 w 1015235"/>
              <a:gd name="connsiteY78" fmla="*/ 694102 h 838012"/>
              <a:gd name="connsiteX79" fmla="*/ 901005 w 1015235"/>
              <a:gd name="connsiteY79" fmla="*/ 702711 h 838012"/>
              <a:gd name="connsiteX80" fmla="*/ 902183 w 1015235"/>
              <a:gd name="connsiteY80" fmla="*/ 710119 h 838012"/>
              <a:gd name="connsiteX81" fmla="*/ 881064 w 1015235"/>
              <a:gd name="connsiteY81" fmla="*/ 741282 h 838012"/>
              <a:gd name="connsiteX82" fmla="*/ 885851 w 1015235"/>
              <a:gd name="connsiteY82" fmla="*/ 749240 h 838012"/>
              <a:gd name="connsiteX83" fmla="*/ 883466 w 1015235"/>
              <a:gd name="connsiteY83" fmla="*/ 751526 h 838012"/>
              <a:gd name="connsiteX84" fmla="*/ 872593 w 1015235"/>
              <a:gd name="connsiteY84" fmla="*/ 751576 h 838012"/>
              <a:gd name="connsiteX85" fmla="*/ 871489 w 1015235"/>
              <a:gd name="connsiteY85" fmla="*/ 759597 h 838012"/>
              <a:gd name="connsiteX86" fmla="*/ 866133 w 1015235"/>
              <a:gd name="connsiteY86" fmla="*/ 761498 h 838012"/>
              <a:gd name="connsiteX87" fmla="*/ 862781 w 1015235"/>
              <a:gd name="connsiteY87" fmla="*/ 772950 h 838012"/>
              <a:gd name="connsiteX88" fmla="*/ 857338 w 1015235"/>
              <a:gd name="connsiteY88" fmla="*/ 775002 h 838012"/>
              <a:gd name="connsiteX89" fmla="*/ 849533 w 1015235"/>
              <a:gd name="connsiteY89" fmla="*/ 779420 h 838012"/>
              <a:gd name="connsiteX90" fmla="*/ 851010 w 1015235"/>
              <a:gd name="connsiteY90" fmla="*/ 791263 h 838012"/>
              <a:gd name="connsiteX91" fmla="*/ 841646 w 1015235"/>
              <a:gd name="connsiteY91" fmla="*/ 803105 h 838012"/>
              <a:gd name="connsiteX92" fmla="*/ 831067 w 1015235"/>
              <a:gd name="connsiteY92" fmla="*/ 817510 h 838012"/>
              <a:gd name="connsiteX93" fmla="*/ 821434 w 1015235"/>
              <a:gd name="connsiteY93" fmla="*/ 829930 h 838012"/>
              <a:gd name="connsiteX94" fmla="*/ 814140 w 1015235"/>
              <a:gd name="connsiteY94" fmla="*/ 830581 h 838012"/>
              <a:gd name="connsiteX95" fmla="*/ 810516 w 1015235"/>
              <a:gd name="connsiteY95" fmla="*/ 838012 h 838012"/>
              <a:gd name="connsiteX96" fmla="*/ 807543 w 1015235"/>
              <a:gd name="connsiteY96" fmla="*/ 837628 h 838012"/>
              <a:gd name="connsiteX97" fmla="*/ 782611 w 1015235"/>
              <a:gd name="connsiteY97" fmla="*/ 821701 h 838012"/>
              <a:gd name="connsiteX98" fmla="*/ 777453 w 1015235"/>
              <a:gd name="connsiteY98" fmla="*/ 818191 h 838012"/>
              <a:gd name="connsiteX99" fmla="*/ 747218 w 1015235"/>
              <a:gd name="connsiteY99" fmla="*/ 800268 h 838012"/>
              <a:gd name="connsiteX100" fmla="*/ 748285 w 1015235"/>
              <a:gd name="connsiteY100" fmla="*/ 798420 h 838012"/>
              <a:gd name="connsiteX101" fmla="*/ 761657 w 1015235"/>
              <a:gd name="connsiteY101" fmla="*/ 806141 h 838012"/>
              <a:gd name="connsiteX102" fmla="*/ 745119 w 1015235"/>
              <a:gd name="connsiteY102" fmla="*/ 789732 h 838012"/>
              <a:gd name="connsiteX103" fmla="*/ 742193 w 1015235"/>
              <a:gd name="connsiteY103" fmla="*/ 787310 h 838012"/>
              <a:gd name="connsiteX104" fmla="*/ 736302 w 1015235"/>
              <a:gd name="connsiteY104" fmla="*/ 783110 h 838012"/>
              <a:gd name="connsiteX105" fmla="*/ 732511 w 1015235"/>
              <a:gd name="connsiteY105" fmla="*/ 783453 h 838012"/>
              <a:gd name="connsiteX106" fmla="*/ 732896 w 1015235"/>
              <a:gd name="connsiteY106" fmla="*/ 788204 h 838012"/>
              <a:gd name="connsiteX107" fmla="*/ 726746 w 1015235"/>
              <a:gd name="connsiteY107" fmla="*/ 792977 h 838012"/>
              <a:gd name="connsiteX108" fmla="*/ 730360 w 1015235"/>
              <a:gd name="connsiteY108" fmla="*/ 796397 h 838012"/>
              <a:gd name="connsiteX109" fmla="*/ 728660 w 1015235"/>
              <a:gd name="connsiteY109" fmla="*/ 796346 h 838012"/>
              <a:gd name="connsiteX110" fmla="*/ 718581 w 1015235"/>
              <a:gd name="connsiteY110" fmla="*/ 790527 h 838012"/>
              <a:gd name="connsiteX111" fmla="*/ 709067 w 1015235"/>
              <a:gd name="connsiteY111" fmla="*/ 786034 h 838012"/>
              <a:gd name="connsiteX112" fmla="*/ 689650 w 1015235"/>
              <a:gd name="connsiteY112" fmla="*/ 777953 h 838012"/>
              <a:gd name="connsiteX113" fmla="*/ 664227 w 1015235"/>
              <a:gd name="connsiteY113" fmla="*/ 762876 h 838012"/>
              <a:gd name="connsiteX114" fmla="*/ 600845 w 1015235"/>
              <a:gd name="connsiteY114" fmla="*/ 720555 h 838012"/>
              <a:gd name="connsiteX115" fmla="*/ 540838 w 1015235"/>
              <a:gd name="connsiteY115" fmla="*/ 680915 h 838012"/>
              <a:gd name="connsiteX116" fmla="*/ 461493 w 1015235"/>
              <a:gd name="connsiteY116" fmla="*/ 630177 h 838012"/>
              <a:gd name="connsiteX117" fmla="*/ 415944 w 1015235"/>
              <a:gd name="connsiteY117" fmla="*/ 601215 h 838012"/>
              <a:gd name="connsiteX118" fmla="*/ 391242 w 1015235"/>
              <a:gd name="connsiteY118" fmla="*/ 584889 h 838012"/>
              <a:gd name="connsiteX119" fmla="*/ 374602 w 1015235"/>
              <a:gd name="connsiteY119" fmla="*/ 574416 h 838012"/>
              <a:gd name="connsiteX120" fmla="*/ 363835 w 1015235"/>
              <a:gd name="connsiteY120" fmla="*/ 566334 h 838012"/>
              <a:gd name="connsiteX121" fmla="*/ 351729 w 1015235"/>
              <a:gd name="connsiteY121" fmla="*/ 559878 h 838012"/>
              <a:gd name="connsiteX122" fmla="*/ 346126 w 1015235"/>
              <a:gd name="connsiteY122" fmla="*/ 555178 h 838012"/>
              <a:gd name="connsiteX123" fmla="*/ 332189 w 1015235"/>
              <a:gd name="connsiteY123" fmla="*/ 546133 h 838012"/>
              <a:gd name="connsiteX124" fmla="*/ 314904 w 1015235"/>
              <a:gd name="connsiteY124" fmla="*/ 536086 h 838012"/>
              <a:gd name="connsiteX125" fmla="*/ 307175 w 1015235"/>
              <a:gd name="connsiteY125" fmla="*/ 527695 h 838012"/>
              <a:gd name="connsiteX126" fmla="*/ 297264 w 1015235"/>
              <a:gd name="connsiteY126" fmla="*/ 525502 h 838012"/>
              <a:gd name="connsiteX127" fmla="*/ 255186 w 1015235"/>
              <a:gd name="connsiteY127" fmla="*/ 497212 h 838012"/>
              <a:gd name="connsiteX128" fmla="*/ 227826 w 1015235"/>
              <a:gd name="connsiteY128" fmla="*/ 479152 h 838012"/>
              <a:gd name="connsiteX129" fmla="*/ 185166 w 1015235"/>
              <a:gd name="connsiteY129" fmla="*/ 451525 h 838012"/>
              <a:gd name="connsiteX130" fmla="*/ 140710 w 1015235"/>
              <a:gd name="connsiteY130" fmla="*/ 422861 h 838012"/>
              <a:gd name="connsiteX131" fmla="*/ 97956 w 1015235"/>
              <a:gd name="connsiteY131" fmla="*/ 395513 h 838012"/>
              <a:gd name="connsiteX132" fmla="*/ 60286 w 1015235"/>
              <a:gd name="connsiteY132" fmla="*/ 372034 h 838012"/>
              <a:gd name="connsiteX133" fmla="*/ 38795 w 1015235"/>
              <a:gd name="connsiteY133" fmla="*/ 356828 h 838012"/>
              <a:gd name="connsiteX134" fmla="*/ 12334 w 1015235"/>
              <a:gd name="connsiteY134" fmla="*/ 337555 h 838012"/>
              <a:gd name="connsiteX135" fmla="*/ 0 w 1015235"/>
              <a:gd name="connsiteY135" fmla="*/ 328036 h 838012"/>
              <a:gd name="connsiteX136" fmla="*/ 5940 w 1015235"/>
              <a:gd name="connsiteY136" fmla="*/ 323740 h 838012"/>
              <a:gd name="connsiteX137" fmla="*/ 7935 w 1015235"/>
              <a:gd name="connsiteY137" fmla="*/ 316367 h 838012"/>
              <a:gd name="connsiteX138" fmla="*/ 3579 w 1015235"/>
              <a:gd name="connsiteY138" fmla="*/ 311121 h 838012"/>
              <a:gd name="connsiteX139" fmla="*/ 12086 w 1015235"/>
              <a:gd name="connsiteY139" fmla="*/ 296387 h 838012"/>
              <a:gd name="connsiteX140" fmla="*/ 5541 w 1015235"/>
              <a:gd name="connsiteY140" fmla="*/ 279953 h 838012"/>
              <a:gd name="connsiteX141" fmla="*/ 4941 w 1015235"/>
              <a:gd name="connsiteY141" fmla="*/ 277076 h 838012"/>
              <a:gd name="connsiteX142" fmla="*/ 4588 w 1015235"/>
              <a:gd name="connsiteY142" fmla="*/ 262821 h 838012"/>
              <a:gd name="connsiteX143" fmla="*/ 3779 w 1015235"/>
              <a:gd name="connsiteY143" fmla="*/ 257425 h 838012"/>
              <a:gd name="connsiteX144" fmla="*/ 11861 w 1015235"/>
              <a:gd name="connsiteY144" fmla="*/ 256563 h 838012"/>
              <a:gd name="connsiteX145" fmla="*/ 15959 w 1015235"/>
              <a:gd name="connsiteY145" fmla="*/ 250271 h 838012"/>
              <a:gd name="connsiteX146" fmla="*/ 41720 w 1015235"/>
              <a:gd name="connsiteY146" fmla="*/ 257619 h 838012"/>
              <a:gd name="connsiteX147" fmla="*/ 39651 w 1015235"/>
              <a:gd name="connsiteY147" fmla="*/ 245302 h 838012"/>
              <a:gd name="connsiteX148" fmla="*/ 15731 w 1015235"/>
              <a:gd name="connsiteY148" fmla="*/ 225431 h 838012"/>
              <a:gd name="connsiteX149" fmla="*/ 13639 w 1015235"/>
              <a:gd name="connsiteY149" fmla="*/ 214766 h 838012"/>
              <a:gd name="connsiteX150" fmla="*/ 7754 w 1015235"/>
              <a:gd name="connsiteY150" fmla="*/ 207906 h 838012"/>
              <a:gd name="connsiteX151" fmla="*/ 9976 w 1015235"/>
              <a:gd name="connsiteY151" fmla="*/ 206591 h 838012"/>
              <a:gd name="connsiteX152" fmla="*/ 18082 w 1015235"/>
              <a:gd name="connsiteY152" fmla="*/ 206609 h 838012"/>
              <a:gd name="connsiteX153" fmla="*/ 24063 w 1015235"/>
              <a:gd name="connsiteY153" fmla="*/ 196942 h 838012"/>
              <a:gd name="connsiteX154" fmla="*/ 23413 w 1015235"/>
              <a:gd name="connsiteY154" fmla="*/ 186776 h 838012"/>
              <a:gd name="connsiteX155" fmla="*/ 23248 w 1015235"/>
              <a:gd name="connsiteY155" fmla="*/ 173694 h 838012"/>
              <a:gd name="connsiteX156" fmla="*/ 24094 w 1015235"/>
              <a:gd name="connsiteY156" fmla="*/ 171652 h 838012"/>
              <a:gd name="connsiteX157" fmla="*/ 38390 w 1015235"/>
              <a:gd name="connsiteY157" fmla="*/ 157263 h 838012"/>
              <a:gd name="connsiteX158" fmla="*/ 39448 w 1015235"/>
              <a:gd name="connsiteY158" fmla="*/ 157273 h 838012"/>
              <a:gd name="connsiteX159" fmla="*/ 55546 w 1015235"/>
              <a:gd name="connsiteY159" fmla="*/ 167301 h 838012"/>
              <a:gd name="connsiteX160" fmla="*/ 72525 w 1015235"/>
              <a:gd name="connsiteY160" fmla="*/ 175571 h 838012"/>
              <a:gd name="connsiteX161" fmla="*/ 78252 w 1015235"/>
              <a:gd name="connsiteY161" fmla="*/ 178212 h 838012"/>
              <a:gd name="connsiteX162" fmla="*/ 87556 w 1015235"/>
              <a:gd name="connsiteY162" fmla="*/ 183185 h 838012"/>
              <a:gd name="connsiteX163" fmla="*/ 117942 w 1015235"/>
              <a:gd name="connsiteY163" fmla="*/ 200728 h 838012"/>
              <a:gd name="connsiteX164" fmla="*/ 115318 w 1015235"/>
              <a:gd name="connsiteY164" fmla="*/ 198013 h 838012"/>
              <a:gd name="connsiteX165" fmla="*/ 112574 w 1015235"/>
              <a:gd name="connsiteY165" fmla="*/ 189170 h 838012"/>
              <a:gd name="connsiteX166" fmla="*/ 104106 w 1015235"/>
              <a:gd name="connsiteY166" fmla="*/ 182749 h 838012"/>
              <a:gd name="connsiteX167" fmla="*/ 104183 w 1015235"/>
              <a:gd name="connsiteY167" fmla="*/ 175934 h 838012"/>
              <a:gd name="connsiteX168" fmla="*/ 64018 w 1015235"/>
              <a:gd name="connsiteY168" fmla="*/ 143754 h 838012"/>
              <a:gd name="connsiteX169" fmla="*/ 64881 w 1015235"/>
              <a:gd name="connsiteY169" fmla="*/ 135461 h 838012"/>
              <a:gd name="connsiteX170" fmla="*/ 64904 w 1015235"/>
              <a:gd name="connsiteY170" fmla="*/ 135075 h 838012"/>
              <a:gd name="connsiteX171" fmla="*/ 60795 w 1015235"/>
              <a:gd name="connsiteY171" fmla="*/ 129173 h 838012"/>
              <a:gd name="connsiteX172" fmla="*/ 62831 w 1015235"/>
              <a:gd name="connsiteY172" fmla="*/ 127950 h 838012"/>
              <a:gd name="connsiteX173" fmla="*/ 75349 w 1015235"/>
              <a:gd name="connsiteY173" fmla="*/ 131847 h 838012"/>
              <a:gd name="connsiteX174" fmla="*/ 80856 w 1015235"/>
              <a:gd name="connsiteY174" fmla="*/ 127035 h 838012"/>
              <a:gd name="connsiteX175" fmla="*/ 84322 w 1015235"/>
              <a:gd name="connsiteY175" fmla="*/ 128636 h 838012"/>
              <a:gd name="connsiteX176" fmla="*/ 112535 w 1015235"/>
              <a:gd name="connsiteY176" fmla="*/ 149254 h 838012"/>
              <a:gd name="connsiteX177" fmla="*/ 116952 w 1015235"/>
              <a:gd name="connsiteY177" fmla="*/ 152204 h 838012"/>
              <a:gd name="connsiteX178" fmla="*/ 123926 w 1015235"/>
              <a:gd name="connsiteY178" fmla="*/ 151302 h 838012"/>
              <a:gd name="connsiteX179" fmla="*/ 124721 w 1015235"/>
              <a:gd name="connsiteY179" fmla="*/ 144968 h 838012"/>
              <a:gd name="connsiteX180" fmla="*/ 112167 w 1015235"/>
              <a:gd name="connsiteY180" fmla="*/ 135256 h 838012"/>
              <a:gd name="connsiteX181" fmla="*/ 109551 w 1015235"/>
              <a:gd name="connsiteY181" fmla="*/ 129416 h 838012"/>
              <a:gd name="connsiteX182" fmla="*/ 121624 w 1015235"/>
              <a:gd name="connsiteY182" fmla="*/ 133856 h 838012"/>
              <a:gd name="connsiteX183" fmla="*/ 121039 w 1015235"/>
              <a:gd name="connsiteY183" fmla="*/ 124728 h 838012"/>
              <a:gd name="connsiteX184" fmla="*/ 135340 w 1015235"/>
              <a:gd name="connsiteY184" fmla="*/ 132452 h 838012"/>
              <a:gd name="connsiteX185" fmla="*/ 138090 w 1015235"/>
              <a:gd name="connsiteY185" fmla="*/ 122850 h 838012"/>
              <a:gd name="connsiteX186" fmla="*/ 130624 w 1015235"/>
              <a:gd name="connsiteY186" fmla="*/ 111814 h 838012"/>
              <a:gd name="connsiteX187" fmla="*/ 149480 w 1015235"/>
              <a:gd name="connsiteY187" fmla="*/ 119370 h 838012"/>
              <a:gd name="connsiteX188" fmla="*/ 193368 w 1015235"/>
              <a:gd name="connsiteY188" fmla="*/ 148904 h 838012"/>
              <a:gd name="connsiteX189" fmla="*/ 229735 w 1015235"/>
              <a:gd name="connsiteY189" fmla="*/ 172564 h 838012"/>
              <a:gd name="connsiteX190" fmla="*/ 237058 w 1015235"/>
              <a:gd name="connsiteY190" fmla="*/ 176127 h 838012"/>
              <a:gd name="connsiteX191" fmla="*/ 235116 w 1015235"/>
              <a:gd name="connsiteY191" fmla="*/ 171542 h 838012"/>
              <a:gd name="connsiteX192" fmla="*/ 203492 w 1015235"/>
              <a:gd name="connsiteY192" fmla="*/ 148422 h 838012"/>
              <a:gd name="connsiteX193" fmla="*/ 161015 w 1015235"/>
              <a:gd name="connsiteY193" fmla="*/ 116905 h 838012"/>
              <a:gd name="connsiteX194" fmla="*/ 143626 w 1015235"/>
              <a:gd name="connsiteY194" fmla="*/ 101738 h 838012"/>
              <a:gd name="connsiteX195" fmla="*/ 132322 w 1015235"/>
              <a:gd name="connsiteY195" fmla="*/ 92281 h 838012"/>
              <a:gd name="connsiteX196" fmla="*/ 126570 w 1015235"/>
              <a:gd name="connsiteY196" fmla="*/ 87494 h 838012"/>
              <a:gd name="connsiteX197" fmla="*/ 133895 w 1015235"/>
              <a:gd name="connsiteY197" fmla="*/ 83333 h 838012"/>
              <a:gd name="connsiteX198" fmla="*/ 140453 w 1015235"/>
              <a:gd name="connsiteY198" fmla="*/ 79926 h 838012"/>
              <a:gd name="connsiteX199" fmla="*/ 144392 w 1015235"/>
              <a:gd name="connsiteY199" fmla="*/ 78404 h 838012"/>
              <a:gd name="connsiteX200" fmla="*/ 149673 w 1015235"/>
              <a:gd name="connsiteY200" fmla="*/ 65801 h 838012"/>
              <a:gd name="connsiteX201" fmla="*/ 148421 w 1015235"/>
              <a:gd name="connsiteY201" fmla="*/ 63014 h 838012"/>
              <a:gd name="connsiteX202" fmla="*/ 159053 w 1015235"/>
              <a:gd name="connsiteY202" fmla="*/ 40449 h 838012"/>
              <a:gd name="connsiteX203" fmla="*/ 155225 w 1015235"/>
              <a:gd name="connsiteY203" fmla="*/ 23920 h 838012"/>
              <a:gd name="connsiteX204" fmla="*/ 169033 w 1015235"/>
              <a:gd name="connsiteY204" fmla="*/ 32958 h 838012"/>
              <a:gd name="connsiteX205" fmla="*/ 180674 w 1015235"/>
              <a:gd name="connsiteY205" fmla="*/ 36880 h 838012"/>
              <a:gd name="connsiteX206" fmla="*/ 187271 w 1015235"/>
              <a:gd name="connsiteY206" fmla="*/ 39625 h 838012"/>
              <a:gd name="connsiteX207" fmla="*/ 255272 w 1015235"/>
              <a:gd name="connsiteY207" fmla="*/ 84546 h 838012"/>
              <a:gd name="connsiteX208" fmla="*/ 282679 w 1015235"/>
              <a:gd name="connsiteY208" fmla="*/ 100568 h 838012"/>
              <a:gd name="connsiteX209" fmla="*/ 291371 w 1015235"/>
              <a:gd name="connsiteY209" fmla="*/ 101991 h 838012"/>
              <a:gd name="connsiteX210" fmla="*/ 287962 w 1015235"/>
              <a:gd name="connsiteY210" fmla="*/ 97292 h 838012"/>
              <a:gd name="connsiteX211" fmla="*/ 265453 w 1015235"/>
              <a:gd name="connsiteY211" fmla="*/ 81433 h 838012"/>
              <a:gd name="connsiteX212" fmla="*/ 236677 w 1015235"/>
              <a:gd name="connsiteY212" fmla="*/ 62021 h 838012"/>
              <a:gd name="connsiteX213" fmla="*/ 236545 w 1015235"/>
              <a:gd name="connsiteY213" fmla="*/ 55219 h 838012"/>
              <a:gd name="connsiteX214" fmla="*/ 220093 w 1015235"/>
              <a:gd name="connsiteY214" fmla="*/ 41658 h 838012"/>
              <a:gd name="connsiteX215" fmla="*/ 201527 w 1015235"/>
              <a:gd name="connsiteY215" fmla="*/ 27609 h 838012"/>
              <a:gd name="connsiteX216" fmla="*/ 184116 w 1015235"/>
              <a:gd name="connsiteY216" fmla="*/ 14094 h 838012"/>
              <a:gd name="connsiteX217" fmla="*/ 183006 w 1015235"/>
              <a:gd name="connsiteY217" fmla="*/ 0 h 83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1015235" h="838012">
                <a:moveTo>
                  <a:pt x="741388" y="792506"/>
                </a:moveTo>
                <a:cubicBezTo>
                  <a:pt x="741701" y="792887"/>
                  <a:pt x="741848" y="793438"/>
                  <a:pt x="742053" y="793890"/>
                </a:cubicBezTo>
                <a:cubicBezTo>
                  <a:pt x="741738" y="793974"/>
                  <a:pt x="741402" y="793980"/>
                  <a:pt x="741117" y="794014"/>
                </a:cubicBezTo>
                <a:cubicBezTo>
                  <a:pt x="740911" y="793563"/>
                  <a:pt x="740684" y="793033"/>
                  <a:pt x="740479" y="792582"/>
                </a:cubicBezTo>
                <a:cubicBezTo>
                  <a:pt x="740815" y="792576"/>
                  <a:pt x="741267" y="792370"/>
                  <a:pt x="741388" y="792506"/>
                </a:cubicBezTo>
                <a:close/>
                <a:moveTo>
                  <a:pt x="1006181" y="556377"/>
                </a:moveTo>
                <a:lnTo>
                  <a:pt x="1006916" y="556602"/>
                </a:lnTo>
                <a:lnTo>
                  <a:pt x="1006478" y="557015"/>
                </a:lnTo>
                <a:close/>
                <a:moveTo>
                  <a:pt x="183006" y="0"/>
                </a:moveTo>
                <a:cubicBezTo>
                  <a:pt x="185891" y="533"/>
                  <a:pt x="189570" y="2457"/>
                  <a:pt x="191806" y="1350"/>
                </a:cubicBezTo>
                <a:cubicBezTo>
                  <a:pt x="197545" y="-1330"/>
                  <a:pt x="201109" y="2060"/>
                  <a:pt x="205143" y="4522"/>
                </a:cubicBezTo>
                <a:cubicBezTo>
                  <a:pt x="216653" y="11434"/>
                  <a:pt x="227379" y="19358"/>
                  <a:pt x="237623" y="28003"/>
                </a:cubicBezTo>
                <a:cubicBezTo>
                  <a:pt x="239759" y="29835"/>
                  <a:pt x="242340" y="31125"/>
                  <a:pt x="244727" y="32636"/>
                </a:cubicBezTo>
                <a:cubicBezTo>
                  <a:pt x="251589" y="36999"/>
                  <a:pt x="258488" y="41182"/>
                  <a:pt x="265292" y="45642"/>
                </a:cubicBezTo>
                <a:cubicBezTo>
                  <a:pt x="280312" y="55580"/>
                  <a:pt x="295224" y="65587"/>
                  <a:pt x="310214" y="75575"/>
                </a:cubicBezTo>
                <a:cubicBezTo>
                  <a:pt x="314333" y="78352"/>
                  <a:pt x="318430" y="81050"/>
                  <a:pt x="322605" y="83727"/>
                </a:cubicBezTo>
                <a:cubicBezTo>
                  <a:pt x="324992" y="85238"/>
                  <a:pt x="327219" y="87257"/>
                  <a:pt x="329832" y="88032"/>
                </a:cubicBezTo>
                <a:cubicBezTo>
                  <a:pt x="343280" y="91934"/>
                  <a:pt x="354022" y="100867"/>
                  <a:pt x="366021" y="107394"/>
                </a:cubicBezTo>
                <a:cubicBezTo>
                  <a:pt x="381191" y="115687"/>
                  <a:pt x="395958" y="124678"/>
                  <a:pt x="410877" y="133292"/>
                </a:cubicBezTo>
                <a:cubicBezTo>
                  <a:pt x="412574" y="134271"/>
                  <a:pt x="414781" y="134481"/>
                  <a:pt x="416823" y="134861"/>
                </a:cubicBezTo>
                <a:cubicBezTo>
                  <a:pt x="418895" y="135191"/>
                  <a:pt x="421105" y="134935"/>
                  <a:pt x="423032" y="135515"/>
                </a:cubicBezTo>
                <a:cubicBezTo>
                  <a:pt x="425816" y="136456"/>
                  <a:pt x="428596" y="137862"/>
                  <a:pt x="425625" y="141740"/>
                </a:cubicBezTo>
                <a:cubicBezTo>
                  <a:pt x="430268" y="143955"/>
                  <a:pt x="433661" y="147179"/>
                  <a:pt x="438865" y="145655"/>
                </a:cubicBezTo>
                <a:cubicBezTo>
                  <a:pt x="440125" y="145317"/>
                  <a:pt x="442163" y="146626"/>
                  <a:pt x="443466" y="147712"/>
                </a:cubicBezTo>
                <a:cubicBezTo>
                  <a:pt x="451524" y="154495"/>
                  <a:pt x="461103" y="158761"/>
                  <a:pt x="469903" y="164374"/>
                </a:cubicBezTo>
                <a:cubicBezTo>
                  <a:pt x="484227" y="173443"/>
                  <a:pt x="500238" y="179357"/>
                  <a:pt x="514446" y="188625"/>
                </a:cubicBezTo>
                <a:cubicBezTo>
                  <a:pt x="517403" y="190532"/>
                  <a:pt x="520677" y="191891"/>
                  <a:pt x="523778" y="193547"/>
                </a:cubicBezTo>
                <a:cubicBezTo>
                  <a:pt x="525953" y="194737"/>
                  <a:pt x="528694" y="195520"/>
                  <a:pt x="530107" y="197335"/>
                </a:cubicBezTo>
                <a:cubicBezTo>
                  <a:pt x="535123" y="203627"/>
                  <a:pt x="542033" y="205486"/>
                  <a:pt x="549403" y="207010"/>
                </a:cubicBezTo>
                <a:cubicBezTo>
                  <a:pt x="552795" y="207703"/>
                  <a:pt x="556024" y="209368"/>
                  <a:pt x="559155" y="210975"/>
                </a:cubicBezTo>
                <a:cubicBezTo>
                  <a:pt x="576061" y="219603"/>
                  <a:pt x="593341" y="227582"/>
                  <a:pt x="609202" y="238138"/>
                </a:cubicBezTo>
                <a:cubicBezTo>
                  <a:pt x="616941" y="239942"/>
                  <a:pt x="622612" y="245215"/>
                  <a:pt x="628967" y="249417"/>
                </a:cubicBezTo>
                <a:cubicBezTo>
                  <a:pt x="633934" y="252684"/>
                  <a:pt x="639699" y="254681"/>
                  <a:pt x="644312" y="258675"/>
                </a:cubicBezTo>
                <a:cubicBezTo>
                  <a:pt x="645294" y="259509"/>
                  <a:pt x="646857" y="260145"/>
                  <a:pt x="648172" y="260172"/>
                </a:cubicBezTo>
                <a:cubicBezTo>
                  <a:pt x="653911" y="260487"/>
                  <a:pt x="657984" y="263572"/>
                  <a:pt x="661803" y="267442"/>
                </a:cubicBezTo>
                <a:cubicBezTo>
                  <a:pt x="663019" y="268677"/>
                  <a:pt x="664376" y="270592"/>
                  <a:pt x="665840" y="270705"/>
                </a:cubicBezTo>
                <a:cubicBezTo>
                  <a:pt x="674035" y="271374"/>
                  <a:pt x="679474" y="277511"/>
                  <a:pt x="686270" y="280835"/>
                </a:cubicBezTo>
                <a:cubicBezTo>
                  <a:pt x="695069" y="285183"/>
                  <a:pt x="703190" y="290937"/>
                  <a:pt x="711607" y="296063"/>
                </a:cubicBezTo>
                <a:cubicBezTo>
                  <a:pt x="726344" y="305105"/>
                  <a:pt x="741082" y="314146"/>
                  <a:pt x="755771" y="323159"/>
                </a:cubicBezTo>
                <a:cubicBezTo>
                  <a:pt x="768663" y="331135"/>
                  <a:pt x="781641" y="338961"/>
                  <a:pt x="794417" y="347137"/>
                </a:cubicBezTo>
                <a:cubicBezTo>
                  <a:pt x="800880" y="351267"/>
                  <a:pt x="806667" y="356340"/>
                  <a:pt x="814057" y="359209"/>
                </a:cubicBezTo>
                <a:cubicBezTo>
                  <a:pt x="819231" y="361197"/>
                  <a:pt x="823672" y="365026"/>
                  <a:pt x="828310" y="368170"/>
                </a:cubicBezTo>
                <a:cubicBezTo>
                  <a:pt x="837907" y="374709"/>
                  <a:pt x="847359" y="381499"/>
                  <a:pt x="857013" y="387939"/>
                </a:cubicBezTo>
                <a:cubicBezTo>
                  <a:pt x="865078" y="393327"/>
                  <a:pt x="872480" y="399865"/>
                  <a:pt x="881568" y="403714"/>
                </a:cubicBezTo>
                <a:cubicBezTo>
                  <a:pt x="883757" y="404645"/>
                  <a:pt x="886538" y="406051"/>
                  <a:pt x="887479" y="407993"/>
                </a:cubicBezTo>
                <a:cubicBezTo>
                  <a:pt x="890027" y="413259"/>
                  <a:pt x="894678" y="415345"/>
                  <a:pt x="899218" y="417966"/>
                </a:cubicBezTo>
                <a:cubicBezTo>
                  <a:pt x="901862" y="419493"/>
                  <a:pt x="903626" y="422776"/>
                  <a:pt x="906365" y="424024"/>
                </a:cubicBezTo>
                <a:cubicBezTo>
                  <a:pt x="916243" y="428462"/>
                  <a:pt x="922489" y="437463"/>
                  <a:pt x="931447" y="443034"/>
                </a:cubicBezTo>
                <a:cubicBezTo>
                  <a:pt x="936250" y="446007"/>
                  <a:pt x="940794" y="449429"/>
                  <a:pt x="945778" y="451975"/>
                </a:cubicBezTo>
                <a:cubicBezTo>
                  <a:pt x="950313" y="454259"/>
                  <a:pt x="954109" y="457250"/>
                  <a:pt x="957120" y="461252"/>
                </a:cubicBezTo>
                <a:cubicBezTo>
                  <a:pt x="962950" y="469014"/>
                  <a:pt x="970713" y="474695"/>
                  <a:pt x="979011" y="479221"/>
                </a:cubicBezTo>
                <a:cubicBezTo>
                  <a:pt x="986083" y="483104"/>
                  <a:pt x="991009" y="488744"/>
                  <a:pt x="995949" y="494593"/>
                </a:cubicBezTo>
                <a:cubicBezTo>
                  <a:pt x="997541" y="496445"/>
                  <a:pt x="998587" y="498780"/>
                  <a:pt x="999935" y="500824"/>
                </a:cubicBezTo>
                <a:cubicBezTo>
                  <a:pt x="1002286" y="504358"/>
                  <a:pt x="1006012" y="506509"/>
                  <a:pt x="1011112" y="507277"/>
                </a:cubicBezTo>
                <a:cubicBezTo>
                  <a:pt x="1016261" y="513914"/>
                  <a:pt x="1015480" y="521719"/>
                  <a:pt x="1014577" y="529391"/>
                </a:cubicBezTo>
                <a:cubicBezTo>
                  <a:pt x="1014361" y="531264"/>
                  <a:pt x="1012679" y="533024"/>
                  <a:pt x="1011570" y="534713"/>
                </a:cubicBezTo>
                <a:cubicBezTo>
                  <a:pt x="1010086" y="537054"/>
                  <a:pt x="1007982" y="538970"/>
                  <a:pt x="1008224" y="542240"/>
                </a:cubicBezTo>
                <a:cubicBezTo>
                  <a:pt x="1008298" y="543147"/>
                  <a:pt x="1006889" y="544665"/>
                  <a:pt x="1005829" y="545119"/>
                </a:cubicBezTo>
                <a:cubicBezTo>
                  <a:pt x="1004052" y="545891"/>
                  <a:pt x="1003439" y="547069"/>
                  <a:pt x="1002537" y="548746"/>
                </a:cubicBezTo>
                <a:cubicBezTo>
                  <a:pt x="999198" y="554877"/>
                  <a:pt x="994833" y="555753"/>
                  <a:pt x="988704" y="552081"/>
                </a:cubicBezTo>
                <a:cubicBezTo>
                  <a:pt x="987307" y="551275"/>
                  <a:pt x="985822" y="550617"/>
                  <a:pt x="984496" y="549919"/>
                </a:cubicBezTo>
                <a:cubicBezTo>
                  <a:pt x="981844" y="552784"/>
                  <a:pt x="983367" y="555793"/>
                  <a:pt x="982477" y="559408"/>
                </a:cubicBezTo>
                <a:cubicBezTo>
                  <a:pt x="979701" y="561336"/>
                  <a:pt x="976280" y="563690"/>
                  <a:pt x="972779" y="566064"/>
                </a:cubicBezTo>
                <a:cubicBezTo>
                  <a:pt x="972078" y="572119"/>
                  <a:pt x="971319" y="578274"/>
                  <a:pt x="970667" y="584358"/>
                </a:cubicBezTo>
                <a:cubicBezTo>
                  <a:pt x="964927" y="588769"/>
                  <a:pt x="960495" y="594602"/>
                  <a:pt x="953092" y="595324"/>
                </a:cubicBezTo>
                <a:cubicBezTo>
                  <a:pt x="950768" y="603883"/>
                  <a:pt x="950686" y="610362"/>
                  <a:pt x="952848" y="614762"/>
                </a:cubicBezTo>
                <a:cubicBezTo>
                  <a:pt x="950028" y="615265"/>
                  <a:pt x="947338" y="615777"/>
                  <a:pt x="944104" y="616307"/>
                </a:cubicBezTo>
                <a:cubicBezTo>
                  <a:pt x="944309" y="618490"/>
                  <a:pt x="944562" y="620701"/>
                  <a:pt x="944798" y="623634"/>
                </a:cubicBezTo>
                <a:cubicBezTo>
                  <a:pt x="940031" y="623479"/>
                  <a:pt x="935571" y="623368"/>
                  <a:pt x="931268" y="623216"/>
                </a:cubicBezTo>
                <a:cubicBezTo>
                  <a:pt x="930335" y="625408"/>
                  <a:pt x="929754" y="627337"/>
                  <a:pt x="928702" y="628927"/>
                </a:cubicBezTo>
                <a:cubicBezTo>
                  <a:pt x="927544" y="630589"/>
                  <a:pt x="925864" y="631884"/>
                  <a:pt x="924212" y="633594"/>
                </a:cubicBezTo>
                <a:cubicBezTo>
                  <a:pt x="928052" y="640539"/>
                  <a:pt x="935056" y="645116"/>
                  <a:pt x="936591" y="654327"/>
                </a:cubicBezTo>
                <a:cubicBezTo>
                  <a:pt x="935199" y="661116"/>
                  <a:pt x="930785" y="667492"/>
                  <a:pt x="924668" y="673018"/>
                </a:cubicBezTo>
                <a:cubicBezTo>
                  <a:pt x="923003" y="674520"/>
                  <a:pt x="921731" y="675918"/>
                  <a:pt x="919436" y="675857"/>
                </a:cubicBezTo>
                <a:cubicBezTo>
                  <a:pt x="918793" y="675820"/>
                  <a:pt x="918127" y="676167"/>
                  <a:pt x="917439" y="676436"/>
                </a:cubicBezTo>
                <a:cubicBezTo>
                  <a:pt x="915297" y="677264"/>
                  <a:pt x="917408" y="681214"/>
                  <a:pt x="914321" y="681030"/>
                </a:cubicBezTo>
                <a:cubicBezTo>
                  <a:pt x="911799" y="680905"/>
                  <a:pt x="911440" y="682563"/>
                  <a:pt x="910882" y="684105"/>
                </a:cubicBezTo>
                <a:cubicBezTo>
                  <a:pt x="910389" y="685420"/>
                  <a:pt x="910125" y="686799"/>
                  <a:pt x="910040" y="688215"/>
                </a:cubicBezTo>
                <a:cubicBezTo>
                  <a:pt x="909905" y="690868"/>
                  <a:pt x="909187" y="692917"/>
                  <a:pt x="906508" y="694102"/>
                </a:cubicBezTo>
                <a:cubicBezTo>
                  <a:pt x="902926" y="695696"/>
                  <a:pt x="901971" y="699541"/>
                  <a:pt x="901005" y="702711"/>
                </a:cubicBezTo>
                <a:cubicBezTo>
                  <a:pt x="900366" y="704741"/>
                  <a:pt x="901703" y="707378"/>
                  <a:pt x="902183" y="710119"/>
                </a:cubicBezTo>
                <a:cubicBezTo>
                  <a:pt x="895408" y="720126"/>
                  <a:pt x="888380" y="730454"/>
                  <a:pt x="881064" y="741282"/>
                </a:cubicBezTo>
                <a:cubicBezTo>
                  <a:pt x="882660" y="743935"/>
                  <a:pt x="884205" y="746559"/>
                  <a:pt x="885851" y="749240"/>
                </a:cubicBezTo>
                <a:cubicBezTo>
                  <a:pt x="884887" y="750216"/>
                  <a:pt x="884217" y="751494"/>
                  <a:pt x="883466" y="751526"/>
                </a:cubicBezTo>
                <a:cubicBezTo>
                  <a:pt x="880020" y="751735"/>
                  <a:pt x="876517" y="751577"/>
                  <a:pt x="872593" y="751576"/>
                </a:cubicBezTo>
                <a:cubicBezTo>
                  <a:pt x="870361" y="753484"/>
                  <a:pt x="872041" y="756451"/>
                  <a:pt x="871489" y="759597"/>
                </a:cubicBezTo>
                <a:cubicBezTo>
                  <a:pt x="869906" y="760148"/>
                  <a:pt x="867867" y="760569"/>
                  <a:pt x="866133" y="761498"/>
                </a:cubicBezTo>
                <a:cubicBezTo>
                  <a:pt x="860672" y="764274"/>
                  <a:pt x="860243" y="765824"/>
                  <a:pt x="862781" y="772950"/>
                </a:cubicBezTo>
                <a:cubicBezTo>
                  <a:pt x="860955" y="773694"/>
                  <a:pt x="858809" y="775452"/>
                  <a:pt x="857338" y="775002"/>
                </a:cubicBezTo>
                <a:cubicBezTo>
                  <a:pt x="852907" y="773576"/>
                  <a:pt x="852052" y="777477"/>
                  <a:pt x="849533" y="779420"/>
                </a:cubicBezTo>
                <a:cubicBezTo>
                  <a:pt x="849986" y="783012"/>
                  <a:pt x="850454" y="786812"/>
                  <a:pt x="851010" y="791263"/>
                </a:cubicBezTo>
                <a:cubicBezTo>
                  <a:pt x="846716" y="793977"/>
                  <a:pt x="844099" y="798395"/>
                  <a:pt x="841646" y="803105"/>
                </a:cubicBezTo>
                <a:cubicBezTo>
                  <a:pt x="838875" y="808366"/>
                  <a:pt x="835705" y="813394"/>
                  <a:pt x="831067" y="817510"/>
                </a:cubicBezTo>
                <a:cubicBezTo>
                  <a:pt x="827491" y="820707"/>
                  <a:pt x="825082" y="825110"/>
                  <a:pt x="821434" y="829930"/>
                </a:cubicBezTo>
                <a:cubicBezTo>
                  <a:pt x="819825" y="830067"/>
                  <a:pt x="817101" y="830292"/>
                  <a:pt x="814140" y="830581"/>
                </a:cubicBezTo>
                <a:cubicBezTo>
                  <a:pt x="812963" y="832965"/>
                  <a:pt x="811758" y="835398"/>
                  <a:pt x="810516" y="838012"/>
                </a:cubicBezTo>
                <a:cubicBezTo>
                  <a:pt x="809565" y="837929"/>
                  <a:pt x="808342" y="838089"/>
                  <a:pt x="807543" y="837628"/>
                </a:cubicBezTo>
                <a:cubicBezTo>
                  <a:pt x="799184" y="832402"/>
                  <a:pt x="790912" y="827027"/>
                  <a:pt x="782611" y="821701"/>
                </a:cubicBezTo>
                <a:cubicBezTo>
                  <a:pt x="780872" y="820564"/>
                  <a:pt x="779380" y="818770"/>
                  <a:pt x="777453" y="818191"/>
                </a:cubicBezTo>
                <a:cubicBezTo>
                  <a:pt x="765761" y="814703"/>
                  <a:pt x="758225" y="804825"/>
                  <a:pt x="747218" y="800268"/>
                </a:cubicBezTo>
                <a:cubicBezTo>
                  <a:pt x="747564" y="799669"/>
                  <a:pt x="747939" y="799019"/>
                  <a:pt x="748285" y="798420"/>
                </a:cubicBezTo>
                <a:lnTo>
                  <a:pt x="761657" y="806141"/>
                </a:lnTo>
                <a:cubicBezTo>
                  <a:pt x="756577" y="800077"/>
                  <a:pt x="752694" y="792974"/>
                  <a:pt x="745119" y="789732"/>
                </a:cubicBezTo>
                <a:cubicBezTo>
                  <a:pt x="743985" y="789277"/>
                  <a:pt x="743204" y="788094"/>
                  <a:pt x="742193" y="787310"/>
                </a:cubicBezTo>
                <a:cubicBezTo>
                  <a:pt x="740241" y="785851"/>
                  <a:pt x="738405" y="784191"/>
                  <a:pt x="736302" y="783110"/>
                </a:cubicBezTo>
                <a:cubicBezTo>
                  <a:pt x="735353" y="782563"/>
                  <a:pt x="733430" y="782784"/>
                  <a:pt x="732511" y="783453"/>
                </a:cubicBezTo>
                <a:cubicBezTo>
                  <a:pt x="730439" y="784853"/>
                  <a:pt x="732196" y="786534"/>
                  <a:pt x="732896" y="788204"/>
                </a:cubicBezTo>
                <a:cubicBezTo>
                  <a:pt x="730376" y="788879"/>
                  <a:pt x="727494" y="789147"/>
                  <a:pt x="726746" y="792977"/>
                </a:cubicBezTo>
                <a:cubicBezTo>
                  <a:pt x="727771" y="793968"/>
                  <a:pt x="728994" y="795074"/>
                  <a:pt x="730360" y="796397"/>
                </a:cubicBezTo>
                <a:cubicBezTo>
                  <a:pt x="729689" y="796408"/>
                  <a:pt x="729059" y="796577"/>
                  <a:pt x="728660" y="796346"/>
                </a:cubicBezTo>
                <a:cubicBezTo>
                  <a:pt x="725317" y="794416"/>
                  <a:pt x="721981" y="792358"/>
                  <a:pt x="718581" y="790527"/>
                </a:cubicBezTo>
                <a:cubicBezTo>
                  <a:pt x="715479" y="788870"/>
                  <a:pt x="712380" y="786748"/>
                  <a:pt x="709067" y="786034"/>
                </a:cubicBezTo>
                <a:cubicBezTo>
                  <a:pt x="702034" y="784504"/>
                  <a:pt x="696033" y="780840"/>
                  <a:pt x="689650" y="777953"/>
                </a:cubicBezTo>
                <a:cubicBezTo>
                  <a:pt x="680549" y="773897"/>
                  <a:pt x="672441" y="768352"/>
                  <a:pt x="664227" y="762876"/>
                </a:cubicBezTo>
                <a:cubicBezTo>
                  <a:pt x="643137" y="748702"/>
                  <a:pt x="621991" y="734628"/>
                  <a:pt x="600845" y="720555"/>
                </a:cubicBezTo>
                <a:cubicBezTo>
                  <a:pt x="580888" y="707301"/>
                  <a:pt x="560910" y="693969"/>
                  <a:pt x="540838" y="680915"/>
                </a:cubicBezTo>
                <a:cubicBezTo>
                  <a:pt x="514503" y="663845"/>
                  <a:pt x="487944" y="647046"/>
                  <a:pt x="461493" y="630177"/>
                </a:cubicBezTo>
                <a:cubicBezTo>
                  <a:pt x="446329" y="620490"/>
                  <a:pt x="431079" y="610952"/>
                  <a:pt x="415944" y="601215"/>
                </a:cubicBezTo>
                <a:cubicBezTo>
                  <a:pt x="407643" y="595890"/>
                  <a:pt x="399205" y="590685"/>
                  <a:pt x="391242" y="584889"/>
                </a:cubicBezTo>
                <a:cubicBezTo>
                  <a:pt x="385900" y="581005"/>
                  <a:pt x="380456" y="577529"/>
                  <a:pt x="374602" y="574416"/>
                </a:cubicBezTo>
                <a:cubicBezTo>
                  <a:pt x="370674" y="572348"/>
                  <a:pt x="367640" y="568731"/>
                  <a:pt x="363835" y="566334"/>
                </a:cubicBezTo>
                <a:cubicBezTo>
                  <a:pt x="360007" y="563859"/>
                  <a:pt x="355641" y="562203"/>
                  <a:pt x="351729" y="559878"/>
                </a:cubicBezTo>
                <a:cubicBezTo>
                  <a:pt x="349633" y="558668"/>
                  <a:pt x="347775" y="556930"/>
                  <a:pt x="346126" y="555178"/>
                </a:cubicBezTo>
                <a:cubicBezTo>
                  <a:pt x="342222" y="550992"/>
                  <a:pt x="337411" y="548148"/>
                  <a:pt x="332189" y="546133"/>
                </a:cubicBezTo>
                <a:cubicBezTo>
                  <a:pt x="325803" y="543710"/>
                  <a:pt x="320180" y="540198"/>
                  <a:pt x="314904" y="536086"/>
                </a:cubicBezTo>
                <a:cubicBezTo>
                  <a:pt x="312191" y="533987"/>
                  <a:pt x="310175" y="531025"/>
                  <a:pt x="307175" y="527695"/>
                </a:cubicBezTo>
                <a:cubicBezTo>
                  <a:pt x="304278" y="528219"/>
                  <a:pt x="300762" y="527855"/>
                  <a:pt x="297264" y="525502"/>
                </a:cubicBezTo>
                <a:cubicBezTo>
                  <a:pt x="283387" y="515892"/>
                  <a:pt x="269258" y="506602"/>
                  <a:pt x="255186" y="497212"/>
                </a:cubicBezTo>
                <a:cubicBezTo>
                  <a:pt x="246102" y="491169"/>
                  <a:pt x="236968" y="485096"/>
                  <a:pt x="227826" y="479152"/>
                </a:cubicBezTo>
                <a:cubicBezTo>
                  <a:pt x="213619" y="469883"/>
                  <a:pt x="199403" y="460744"/>
                  <a:pt x="185166" y="451525"/>
                </a:cubicBezTo>
                <a:cubicBezTo>
                  <a:pt x="170330" y="441961"/>
                  <a:pt x="155546" y="432425"/>
                  <a:pt x="140710" y="422861"/>
                </a:cubicBezTo>
                <a:cubicBezTo>
                  <a:pt x="126494" y="413722"/>
                  <a:pt x="112229" y="404553"/>
                  <a:pt x="97956" y="395513"/>
                </a:cubicBezTo>
                <a:cubicBezTo>
                  <a:pt x="85421" y="387610"/>
                  <a:pt x="72734" y="380085"/>
                  <a:pt x="60286" y="372034"/>
                </a:cubicBezTo>
                <a:cubicBezTo>
                  <a:pt x="52932" y="367254"/>
                  <a:pt x="45897" y="361927"/>
                  <a:pt x="38795" y="356828"/>
                </a:cubicBezTo>
                <a:cubicBezTo>
                  <a:pt x="29963" y="350463"/>
                  <a:pt x="21109" y="344020"/>
                  <a:pt x="12334" y="337555"/>
                </a:cubicBezTo>
                <a:cubicBezTo>
                  <a:pt x="8132" y="334463"/>
                  <a:pt x="3995" y="331142"/>
                  <a:pt x="0" y="328036"/>
                </a:cubicBezTo>
                <a:cubicBezTo>
                  <a:pt x="927" y="324242"/>
                  <a:pt x="3820" y="324647"/>
                  <a:pt x="5940" y="323740"/>
                </a:cubicBezTo>
                <a:cubicBezTo>
                  <a:pt x="9837" y="322061"/>
                  <a:pt x="10455" y="319954"/>
                  <a:pt x="7935" y="316367"/>
                </a:cubicBezTo>
                <a:cubicBezTo>
                  <a:pt x="6721" y="314667"/>
                  <a:pt x="5292" y="313110"/>
                  <a:pt x="3579" y="311121"/>
                </a:cubicBezTo>
                <a:lnTo>
                  <a:pt x="12086" y="296387"/>
                </a:lnTo>
                <a:cubicBezTo>
                  <a:pt x="7757" y="291556"/>
                  <a:pt x="8590" y="285044"/>
                  <a:pt x="5541" y="279953"/>
                </a:cubicBezTo>
                <a:cubicBezTo>
                  <a:pt x="5023" y="279122"/>
                  <a:pt x="4494" y="277618"/>
                  <a:pt x="4941" y="277076"/>
                </a:cubicBezTo>
                <a:cubicBezTo>
                  <a:pt x="8488" y="272198"/>
                  <a:pt x="5230" y="267586"/>
                  <a:pt x="4588" y="262821"/>
                </a:cubicBezTo>
                <a:cubicBezTo>
                  <a:pt x="4383" y="261103"/>
                  <a:pt x="4098" y="259408"/>
                  <a:pt x="3779" y="257425"/>
                </a:cubicBezTo>
                <a:cubicBezTo>
                  <a:pt x="6611" y="257129"/>
                  <a:pt x="9028" y="256859"/>
                  <a:pt x="11861" y="256563"/>
                </a:cubicBezTo>
                <a:cubicBezTo>
                  <a:pt x="13056" y="254723"/>
                  <a:pt x="14367" y="252682"/>
                  <a:pt x="15959" y="250271"/>
                </a:cubicBezTo>
                <a:cubicBezTo>
                  <a:pt x="24538" y="252694"/>
                  <a:pt x="33169" y="255146"/>
                  <a:pt x="41720" y="257619"/>
                </a:cubicBezTo>
                <a:cubicBezTo>
                  <a:pt x="44388" y="250234"/>
                  <a:pt x="44291" y="249247"/>
                  <a:pt x="39651" y="245302"/>
                </a:cubicBezTo>
                <a:cubicBezTo>
                  <a:pt x="31593" y="238518"/>
                  <a:pt x="23427" y="231806"/>
                  <a:pt x="15731" y="225431"/>
                </a:cubicBezTo>
                <a:cubicBezTo>
                  <a:pt x="15014" y="221487"/>
                  <a:pt x="15004" y="217819"/>
                  <a:pt x="13639" y="214766"/>
                </a:cubicBezTo>
                <a:cubicBezTo>
                  <a:pt x="12479" y="212166"/>
                  <a:pt x="9808" y="210223"/>
                  <a:pt x="7754" y="207906"/>
                </a:cubicBezTo>
                <a:cubicBezTo>
                  <a:pt x="8909" y="207174"/>
                  <a:pt x="9519" y="206460"/>
                  <a:pt x="9976" y="206591"/>
                </a:cubicBezTo>
                <a:cubicBezTo>
                  <a:pt x="12675" y="207217"/>
                  <a:pt x="15307" y="208536"/>
                  <a:pt x="18082" y="206609"/>
                </a:cubicBezTo>
                <a:cubicBezTo>
                  <a:pt x="21454" y="204227"/>
                  <a:pt x="23444" y="200780"/>
                  <a:pt x="24063" y="196942"/>
                </a:cubicBezTo>
                <a:cubicBezTo>
                  <a:pt x="24601" y="193590"/>
                  <a:pt x="25015" y="189300"/>
                  <a:pt x="23413" y="186776"/>
                </a:cubicBezTo>
                <a:cubicBezTo>
                  <a:pt x="20369" y="182022"/>
                  <a:pt x="22162" y="177995"/>
                  <a:pt x="23248" y="173694"/>
                </a:cubicBezTo>
                <a:cubicBezTo>
                  <a:pt x="23445" y="173009"/>
                  <a:pt x="23791" y="172409"/>
                  <a:pt x="24094" y="171652"/>
                </a:cubicBezTo>
                <a:cubicBezTo>
                  <a:pt x="30720" y="168818"/>
                  <a:pt x="34046" y="162480"/>
                  <a:pt x="38390" y="157263"/>
                </a:cubicBezTo>
                <a:cubicBezTo>
                  <a:pt x="38726" y="157257"/>
                  <a:pt x="39198" y="157129"/>
                  <a:pt x="39448" y="157273"/>
                </a:cubicBezTo>
                <a:cubicBezTo>
                  <a:pt x="44792" y="160692"/>
                  <a:pt x="49782" y="164839"/>
                  <a:pt x="55546" y="167301"/>
                </a:cubicBezTo>
                <a:cubicBezTo>
                  <a:pt x="61331" y="169841"/>
                  <a:pt x="67398" y="171547"/>
                  <a:pt x="72525" y="175571"/>
                </a:cubicBezTo>
                <a:cubicBezTo>
                  <a:pt x="74127" y="176830"/>
                  <a:pt x="76349" y="177246"/>
                  <a:pt x="78252" y="178212"/>
                </a:cubicBezTo>
                <a:cubicBezTo>
                  <a:pt x="81382" y="179820"/>
                  <a:pt x="84570" y="181327"/>
                  <a:pt x="87556" y="183185"/>
                </a:cubicBezTo>
                <a:cubicBezTo>
                  <a:pt x="97462" y="189303"/>
                  <a:pt x="107260" y="195492"/>
                  <a:pt x="117942" y="200728"/>
                </a:cubicBezTo>
                <a:cubicBezTo>
                  <a:pt x="117068" y="199823"/>
                  <a:pt x="116301" y="198847"/>
                  <a:pt x="115318" y="198013"/>
                </a:cubicBezTo>
                <a:cubicBezTo>
                  <a:pt x="111680" y="194981"/>
                  <a:pt x="111630" y="194952"/>
                  <a:pt x="112574" y="189170"/>
                </a:cubicBezTo>
                <a:cubicBezTo>
                  <a:pt x="109882" y="187150"/>
                  <a:pt x="107069" y="184992"/>
                  <a:pt x="104106" y="182749"/>
                </a:cubicBezTo>
                <a:cubicBezTo>
                  <a:pt x="104175" y="180325"/>
                  <a:pt x="104137" y="177972"/>
                  <a:pt x="104183" y="175934"/>
                </a:cubicBezTo>
                <a:cubicBezTo>
                  <a:pt x="90612" y="165102"/>
                  <a:pt x="77439" y="154499"/>
                  <a:pt x="64018" y="143754"/>
                </a:cubicBezTo>
                <a:cubicBezTo>
                  <a:pt x="64296" y="140851"/>
                  <a:pt x="64589" y="138156"/>
                  <a:pt x="64881" y="135461"/>
                </a:cubicBezTo>
                <a:lnTo>
                  <a:pt x="64904" y="135075"/>
                </a:lnTo>
                <a:cubicBezTo>
                  <a:pt x="63528" y="133081"/>
                  <a:pt x="62171" y="131166"/>
                  <a:pt x="60795" y="129173"/>
                </a:cubicBezTo>
                <a:cubicBezTo>
                  <a:pt x="61813" y="128561"/>
                  <a:pt x="62424" y="127849"/>
                  <a:pt x="62831" y="127950"/>
                </a:cubicBezTo>
                <a:cubicBezTo>
                  <a:pt x="66864" y="129147"/>
                  <a:pt x="70838" y="130443"/>
                  <a:pt x="75349" y="131847"/>
                </a:cubicBezTo>
                <a:cubicBezTo>
                  <a:pt x="76958" y="130446"/>
                  <a:pt x="78731" y="128872"/>
                  <a:pt x="80856" y="127035"/>
                </a:cubicBezTo>
                <a:cubicBezTo>
                  <a:pt x="81861" y="127482"/>
                  <a:pt x="83261" y="127824"/>
                  <a:pt x="84322" y="128636"/>
                </a:cubicBezTo>
                <a:cubicBezTo>
                  <a:pt x="93746" y="135476"/>
                  <a:pt x="103140" y="142365"/>
                  <a:pt x="112535" y="149254"/>
                </a:cubicBezTo>
                <a:cubicBezTo>
                  <a:pt x="113945" y="150268"/>
                  <a:pt x="115376" y="151361"/>
                  <a:pt x="116952" y="152204"/>
                </a:cubicBezTo>
                <a:cubicBezTo>
                  <a:pt x="119404" y="153487"/>
                  <a:pt x="121774" y="152723"/>
                  <a:pt x="123926" y="151302"/>
                </a:cubicBezTo>
                <a:cubicBezTo>
                  <a:pt x="126155" y="149858"/>
                  <a:pt x="126715" y="146586"/>
                  <a:pt x="124721" y="144968"/>
                </a:cubicBezTo>
                <a:cubicBezTo>
                  <a:pt x="120664" y="141627"/>
                  <a:pt x="116361" y="138476"/>
                  <a:pt x="112167" y="135256"/>
                </a:cubicBezTo>
                <a:cubicBezTo>
                  <a:pt x="110515" y="133969"/>
                  <a:pt x="108569" y="132846"/>
                  <a:pt x="109551" y="129416"/>
                </a:cubicBezTo>
                <a:cubicBezTo>
                  <a:pt x="113290" y="130776"/>
                  <a:pt x="117001" y="132185"/>
                  <a:pt x="121624" y="133856"/>
                </a:cubicBezTo>
                <a:cubicBezTo>
                  <a:pt x="121425" y="130744"/>
                  <a:pt x="121294" y="128205"/>
                  <a:pt x="121039" y="124728"/>
                </a:cubicBezTo>
                <a:cubicBezTo>
                  <a:pt x="126266" y="127545"/>
                  <a:pt x="130763" y="130009"/>
                  <a:pt x="135340" y="132452"/>
                </a:cubicBezTo>
                <a:cubicBezTo>
                  <a:pt x="139080" y="129549"/>
                  <a:pt x="137097" y="125607"/>
                  <a:pt x="138090" y="122850"/>
                </a:cubicBezTo>
                <a:cubicBezTo>
                  <a:pt x="136940" y="118389"/>
                  <a:pt x="130910" y="117772"/>
                  <a:pt x="130624" y="111814"/>
                </a:cubicBezTo>
                <a:cubicBezTo>
                  <a:pt x="137648" y="113937"/>
                  <a:pt x="143973" y="115657"/>
                  <a:pt x="149480" y="119370"/>
                </a:cubicBezTo>
                <a:cubicBezTo>
                  <a:pt x="164122" y="129155"/>
                  <a:pt x="178726" y="139119"/>
                  <a:pt x="193368" y="148904"/>
                </a:cubicBezTo>
                <a:cubicBezTo>
                  <a:pt x="205379" y="156904"/>
                  <a:pt x="217558" y="164735"/>
                  <a:pt x="229735" y="172564"/>
                </a:cubicBezTo>
                <a:cubicBezTo>
                  <a:pt x="231972" y="173990"/>
                  <a:pt x="234549" y="174944"/>
                  <a:pt x="237058" y="176127"/>
                </a:cubicBezTo>
                <a:cubicBezTo>
                  <a:pt x="238366" y="173285"/>
                  <a:pt x="236327" y="172440"/>
                  <a:pt x="235116" y="171542"/>
                </a:cubicBezTo>
                <a:cubicBezTo>
                  <a:pt x="224610" y="163812"/>
                  <a:pt x="214047" y="156181"/>
                  <a:pt x="203492" y="148422"/>
                </a:cubicBezTo>
                <a:cubicBezTo>
                  <a:pt x="189304" y="137966"/>
                  <a:pt x="175173" y="127411"/>
                  <a:pt x="161015" y="116905"/>
                </a:cubicBezTo>
                <a:cubicBezTo>
                  <a:pt x="154840" y="112275"/>
                  <a:pt x="148291" y="108293"/>
                  <a:pt x="143626" y="101738"/>
                </a:cubicBezTo>
                <a:cubicBezTo>
                  <a:pt x="140865" y="97879"/>
                  <a:pt x="136109" y="95400"/>
                  <a:pt x="132322" y="92281"/>
                </a:cubicBezTo>
                <a:cubicBezTo>
                  <a:pt x="130478" y="90750"/>
                  <a:pt x="128634" y="89220"/>
                  <a:pt x="126570" y="87494"/>
                </a:cubicBezTo>
                <a:cubicBezTo>
                  <a:pt x="128345" y="84190"/>
                  <a:pt x="131694" y="84725"/>
                  <a:pt x="133895" y="83333"/>
                </a:cubicBezTo>
                <a:cubicBezTo>
                  <a:pt x="135940" y="81982"/>
                  <a:pt x="138246" y="80982"/>
                  <a:pt x="140453" y="79926"/>
                </a:cubicBezTo>
                <a:cubicBezTo>
                  <a:pt x="141728" y="79330"/>
                  <a:pt x="143116" y="78999"/>
                  <a:pt x="144392" y="78404"/>
                </a:cubicBezTo>
                <a:cubicBezTo>
                  <a:pt x="150703" y="75654"/>
                  <a:pt x="151911" y="72755"/>
                  <a:pt x="149673" y="65801"/>
                </a:cubicBezTo>
                <a:cubicBezTo>
                  <a:pt x="149370" y="64828"/>
                  <a:pt x="148831" y="63917"/>
                  <a:pt x="148421" y="63014"/>
                </a:cubicBezTo>
                <a:cubicBezTo>
                  <a:pt x="152767" y="58331"/>
                  <a:pt x="156312" y="50810"/>
                  <a:pt x="159053" y="40449"/>
                </a:cubicBezTo>
                <a:cubicBezTo>
                  <a:pt x="155638" y="35879"/>
                  <a:pt x="149647" y="31622"/>
                  <a:pt x="155225" y="23920"/>
                </a:cubicBezTo>
                <a:cubicBezTo>
                  <a:pt x="159821" y="26906"/>
                  <a:pt x="164388" y="29942"/>
                  <a:pt x="169033" y="32958"/>
                </a:cubicBezTo>
                <a:cubicBezTo>
                  <a:pt x="172560" y="35261"/>
                  <a:pt x="175852" y="37626"/>
                  <a:pt x="180674" y="36880"/>
                </a:cubicBezTo>
                <a:cubicBezTo>
                  <a:pt x="182655" y="36559"/>
                  <a:pt x="185262" y="38265"/>
                  <a:pt x="187271" y="39625"/>
                </a:cubicBezTo>
                <a:cubicBezTo>
                  <a:pt x="209964" y="54591"/>
                  <a:pt x="232493" y="69729"/>
                  <a:pt x="255272" y="84546"/>
                </a:cubicBezTo>
                <a:cubicBezTo>
                  <a:pt x="264115" y="90317"/>
                  <a:pt x="273576" y="95246"/>
                  <a:pt x="282679" y="100568"/>
                </a:cubicBezTo>
                <a:cubicBezTo>
                  <a:pt x="285173" y="102008"/>
                  <a:pt x="287655" y="103242"/>
                  <a:pt x="291371" y="101991"/>
                </a:cubicBezTo>
                <a:cubicBezTo>
                  <a:pt x="290157" y="100290"/>
                  <a:pt x="289423" y="98335"/>
                  <a:pt x="287962" y="97292"/>
                </a:cubicBezTo>
                <a:cubicBezTo>
                  <a:pt x="280570" y="91891"/>
                  <a:pt x="273039" y="86612"/>
                  <a:pt x="265453" y="81433"/>
                </a:cubicBezTo>
                <a:cubicBezTo>
                  <a:pt x="255885" y="74843"/>
                  <a:pt x="246202" y="68454"/>
                  <a:pt x="236677" y="62021"/>
                </a:cubicBezTo>
                <a:cubicBezTo>
                  <a:pt x="236625" y="59461"/>
                  <a:pt x="236592" y="57443"/>
                  <a:pt x="236545" y="55219"/>
                </a:cubicBezTo>
                <a:cubicBezTo>
                  <a:pt x="230029" y="51989"/>
                  <a:pt x="226235" y="45537"/>
                  <a:pt x="220093" y="41658"/>
                </a:cubicBezTo>
                <a:cubicBezTo>
                  <a:pt x="213580" y="37498"/>
                  <a:pt x="207694" y="32368"/>
                  <a:pt x="201527" y="27609"/>
                </a:cubicBezTo>
                <a:cubicBezTo>
                  <a:pt x="195681" y="23101"/>
                  <a:pt x="189813" y="18514"/>
                  <a:pt x="184116" y="14094"/>
                </a:cubicBezTo>
                <a:cubicBezTo>
                  <a:pt x="183782" y="9372"/>
                  <a:pt x="183404" y="4957"/>
                  <a:pt x="183006" y="0"/>
                </a:cubicBezTo>
                <a:close/>
              </a:path>
            </a:pathLst>
          </a:custGeom>
          <a:solidFill>
            <a:schemeClr val="accent3"/>
          </a:solidFill>
        </p:spPr>
        <p:txBody>
          <a:bodyPr wrap="square">
            <a:noAutofit/>
          </a:bodyPr>
          <a:lstStyle>
            <a:lvl1pPr marL="0" indent="0">
              <a:buNone/>
              <a:defRPr>
                <a:noFill/>
              </a:defRPr>
            </a:lvl1pPr>
          </a:lstStyle>
          <a:p>
            <a:pPr lvl="0"/>
            <a:endParaRPr lang="de-DE" dirty="0"/>
          </a:p>
        </p:txBody>
      </p:sp>
      <p:sp>
        <p:nvSpPr>
          <p:cNvPr id="14" name="Textplatzhalter 13">
            <a:extLst>
              <a:ext uri="{FF2B5EF4-FFF2-40B4-BE49-F238E27FC236}">
                <a16:creationId xmlns:a16="http://schemas.microsoft.com/office/drawing/2014/main" id="{90CA32F2-55D8-E43B-FFCA-9FA53733FAA9}"/>
              </a:ext>
            </a:extLst>
          </p:cNvPr>
          <p:cNvSpPr>
            <a:spLocks noGrp="1" noRot="1" noMove="1" noResize="1" noEditPoints="1" noAdjustHandles="1" noChangeArrowheads="1" noChangeShapeType="1"/>
          </p:cNvSpPr>
          <p:nvPr>
            <p:ph type="body" sz="quarter" idx="12"/>
          </p:nvPr>
        </p:nvSpPr>
        <p:spPr>
          <a:xfrm>
            <a:off x="552083" y="5469862"/>
            <a:ext cx="1015235" cy="838012"/>
          </a:xfrm>
          <a:custGeom>
            <a:avLst/>
            <a:gdLst>
              <a:gd name="connsiteX0" fmla="*/ 741388 w 1015235"/>
              <a:gd name="connsiteY0" fmla="*/ 792506 h 838012"/>
              <a:gd name="connsiteX1" fmla="*/ 742053 w 1015235"/>
              <a:gd name="connsiteY1" fmla="*/ 793890 h 838012"/>
              <a:gd name="connsiteX2" fmla="*/ 741117 w 1015235"/>
              <a:gd name="connsiteY2" fmla="*/ 794014 h 838012"/>
              <a:gd name="connsiteX3" fmla="*/ 740479 w 1015235"/>
              <a:gd name="connsiteY3" fmla="*/ 792582 h 838012"/>
              <a:gd name="connsiteX4" fmla="*/ 741388 w 1015235"/>
              <a:gd name="connsiteY4" fmla="*/ 792506 h 838012"/>
              <a:gd name="connsiteX5" fmla="*/ 1006181 w 1015235"/>
              <a:gd name="connsiteY5" fmla="*/ 556377 h 838012"/>
              <a:gd name="connsiteX6" fmla="*/ 1006916 w 1015235"/>
              <a:gd name="connsiteY6" fmla="*/ 556602 h 838012"/>
              <a:gd name="connsiteX7" fmla="*/ 1006478 w 1015235"/>
              <a:gd name="connsiteY7" fmla="*/ 557015 h 838012"/>
              <a:gd name="connsiteX8" fmla="*/ 183006 w 1015235"/>
              <a:gd name="connsiteY8" fmla="*/ 0 h 838012"/>
              <a:gd name="connsiteX9" fmla="*/ 191806 w 1015235"/>
              <a:gd name="connsiteY9" fmla="*/ 1350 h 838012"/>
              <a:gd name="connsiteX10" fmla="*/ 205143 w 1015235"/>
              <a:gd name="connsiteY10" fmla="*/ 4522 h 838012"/>
              <a:gd name="connsiteX11" fmla="*/ 237623 w 1015235"/>
              <a:gd name="connsiteY11" fmla="*/ 28003 h 838012"/>
              <a:gd name="connsiteX12" fmla="*/ 244727 w 1015235"/>
              <a:gd name="connsiteY12" fmla="*/ 32636 h 838012"/>
              <a:gd name="connsiteX13" fmla="*/ 265292 w 1015235"/>
              <a:gd name="connsiteY13" fmla="*/ 45642 h 838012"/>
              <a:gd name="connsiteX14" fmla="*/ 310214 w 1015235"/>
              <a:gd name="connsiteY14" fmla="*/ 75575 h 838012"/>
              <a:gd name="connsiteX15" fmla="*/ 322605 w 1015235"/>
              <a:gd name="connsiteY15" fmla="*/ 83727 h 838012"/>
              <a:gd name="connsiteX16" fmla="*/ 329832 w 1015235"/>
              <a:gd name="connsiteY16" fmla="*/ 88032 h 838012"/>
              <a:gd name="connsiteX17" fmla="*/ 366021 w 1015235"/>
              <a:gd name="connsiteY17" fmla="*/ 107394 h 838012"/>
              <a:gd name="connsiteX18" fmla="*/ 410877 w 1015235"/>
              <a:gd name="connsiteY18" fmla="*/ 133292 h 838012"/>
              <a:gd name="connsiteX19" fmla="*/ 416823 w 1015235"/>
              <a:gd name="connsiteY19" fmla="*/ 134861 h 838012"/>
              <a:gd name="connsiteX20" fmla="*/ 423032 w 1015235"/>
              <a:gd name="connsiteY20" fmla="*/ 135515 h 838012"/>
              <a:gd name="connsiteX21" fmla="*/ 425625 w 1015235"/>
              <a:gd name="connsiteY21" fmla="*/ 141740 h 838012"/>
              <a:gd name="connsiteX22" fmla="*/ 438865 w 1015235"/>
              <a:gd name="connsiteY22" fmla="*/ 145655 h 838012"/>
              <a:gd name="connsiteX23" fmla="*/ 443466 w 1015235"/>
              <a:gd name="connsiteY23" fmla="*/ 147712 h 838012"/>
              <a:gd name="connsiteX24" fmla="*/ 469903 w 1015235"/>
              <a:gd name="connsiteY24" fmla="*/ 164374 h 838012"/>
              <a:gd name="connsiteX25" fmla="*/ 514446 w 1015235"/>
              <a:gd name="connsiteY25" fmla="*/ 188625 h 838012"/>
              <a:gd name="connsiteX26" fmla="*/ 523778 w 1015235"/>
              <a:gd name="connsiteY26" fmla="*/ 193547 h 838012"/>
              <a:gd name="connsiteX27" fmla="*/ 530107 w 1015235"/>
              <a:gd name="connsiteY27" fmla="*/ 197335 h 838012"/>
              <a:gd name="connsiteX28" fmla="*/ 549403 w 1015235"/>
              <a:gd name="connsiteY28" fmla="*/ 207010 h 838012"/>
              <a:gd name="connsiteX29" fmla="*/ 559155 w 1015235"/>
              <a:gd name="connsiteY29" fmla="*/ 210975 h 838012"/>
              <a:gd name="connsiteX30" fmla="*/ 609202 w 1015235"/>
              <a:gd name="connsiteY30" fmla="*/ 238138 h 838012"/>
              <a:gd name="connsiteX31" fmla="*/ 628967 w 1015235"/>
              <a:gd name="connsiteY31" fmla="*/ 249417 h 838012"/>
              <a:gd name="connsiteX32" fmla="*/ 644312 w 1015235"/>
              <a:gd name="connsiteY32" fmla="*/ 258675 h 838012"/>
              <a:gd name="connsiteX33" fmla="*/ 648172 w 1015235"/>
              <a:gd name="connsiteY33" fmla="*/ 260172 h 838012"/>
              <a:gd name="connsiteX34" fmla="*/ 661803 w 1015235"/>
              <a:gd name="connsiteY34" fmla="*/ 267442 h 838012"/>
              <a:gd name="connsiteX35" fmla="*/ 665840 w 1015235"/>
              <a:gd name="connsiteY35" fmla="*/ 270705 h 838012"/>
              <a:gd name="connsiteX36" fmla="*/ 686270 w 1015235"/>
              <a:gd name="connsiteY36" fmla="*/ 280835 h 838012"/>
              <a:gd name="connsiteX37" fmla="*/ 711607 w 1015235"/>
              <a:gd name="connsiteY37" fmla="*/ 296063 h 838012"/>
              <a:gd name="connsiteX38" fmla="*/ 755771 w 1015235"/>
              <a:gd name="connsiteY38" fmla="*/ 323159 h 838012"/>
              <a:gd name="connsiteX39" fmla="*/ 794417 w 1015235"/>
              <a:gd name="connsiteY39" fmla="*/ 347137 h 838012"/>
              <a:gd name="connsiteX40" fmla="*/ 814057 w 1015235"/>
              <a:gd name="connsiteY40" fmla="*/ 359209 h 838012"/>
              <a:gd name="connsiteX41" fmla="*/ 828310 w 1015235"/>
              <a:gd name="connsiteY41" fmla="*/ 368170 h 838012"/>
              <a:gd name="connsiteX42" fmla="*/ 857013 w 1015235"/>
              <a:gd name="connsiteY42" fmla="*/ 387939 h 838012"/>
              <a:gd name="connsiteX43" fmla="*/ 881568 w 1015235"/>
              <a:gd name="connsiteY43" fmla="*/ 403714 h 838012"/>
              <a:gd name="connsiteX44" fmla="*/ 887479 w 1015235"/>
              <a:gd name="connsiteY44" fmla="*/ 407993 h 838012"/>
              <a:gd name="connsiteX45" fmla="*/ 899218 w 1015235"/>
              <a:gd name="connsiteY45" fmla="*/ 417966 h 838012"/>
              <a:gd name="connsiteX46" fmla="*/ 906365 w 1015235"/>
              <a:gd name="connsiteY46" fmla="*/ 424024 h 838012"/>
              <a:gd name="connsiteX47" fmla="*/ 931447 w 1015235"/>
              <a:gd name="connsiteY47" fmla="*/ 443034 h 838012"/>
              <a:gd name="connsiteX48" fmla="*/ 945778 w 1015235"/>
              <a:gd name="connsiteY48" fmla="*/ 451975 h 838012"/>
              <a:gd name="connsiteX49" fmla="*/ 957120 w 1015235"/>
              <a:gd name="connsiteY49" fmla="*/ 461252 h 838012"/>
              <a:gd name="connsiteX50" fmla="*/ 979011 w 1015235"/>
              <a:gd name="connsiteY50" fmla="*/ 479221 h 838012"/>
              <a:gd name="connsiteX51" fmla="*/ 995949 w 1015235"/>
              <a:gd name="connsiteY51" fmla="*/ 494593 h 838012"/>
              <a:gd name="connsiteX52" fmla="*/ 999935 w 1015235"/>
              <a:gd name="connsiteY52" fmla="*/ 500824 h 838012"/>
              <a:gd name="connsiteX53" fmla="*/ 1011112 w 1015235"/>
              <a:gd name="connsiteY53" fmla="*/ 507277 h 838012"/>
              <a:gd name="connsiteX54" fmla="*/ 1014577 w 1015235"/>
              <a:gd name="connsiteY54" fmla="*/ 529391 h 838012"/>
              <a:gd name="connsiteX55" fmla="*/ 1011570 w 1015235"/>
              <a:gd name="connsiteY55" fmla="*/ 534713 h 838012"/>
              <a:gd name="connsiteX56" fmla="*/ 1008224 w 1015235"/>
              <a:gd name="connsiteY56" fmla="*/ 542240 h 838012"/>
              <a:gd name="connsiteX57" fmla="*/ 1005829 w 1015235"/>
              <a:gd name="connsiteY57" fmla="*/ 545119 h 838012"/>
              <a:gd name="connsiteX58" fmla="*/ 1002537 w 1015235"/>
              <a:gd name="connsiteY58" fmla="*/ 548746 h 838012"/>
              <a:gd name="connsiteX59" fmla="*/ 988704 w 1015235"/>
              <a:gd name="connsiteY59" fmla="*/ 552081 h 838012"/>
              <a:gd name="connsiteX60" fmla="*/ 984496 w 1015235"/>
              <a:gd name="connsiteY60" fmla="*/ 549919 h 838012"/>
              <a:gd name="connsiteX61" fmla="*/ 982477 w 1015235"/>
              <a:gd name="connsiteY61" fmla="*/ 559408 h 838012"/>
              <a:gd name="connsiteX62" fmla="*/ 972779 w 1015235"/>
              <a:gd name="connsiteY62" fmla="*/ 566064 h 838012"/>
              <a:gd name="connsiteX63" fmla="*/ 970667 w 1015235"/>
              <a:gd name="connsiteY63" fmla="*/ 584358 h 838012"/>
              <a:gd name="connsiteX64" fmla="*/ 953092 w 1015235"/>
              <a:gd name="connsiteY64" fmla="*/ 595324 h 838012"/>
              <a:gd name="connsiteX65" fmla="*/ 952848 w 1015235"/>
              <a:gd name="connsiteY65" fmla="*/ 614762 h 838012"/>
              <a:gd name="connsiteX66" fmla="*/ 944104 w 1015235"/>
              <a:gd name="connsiteY66" fmla="*/ 616307 h 838012"/>
              <a:gd name="connsiteX67" fmla="*/ 944798 w 1015235"/>
              <a:gd name="connsiteY67" fmla="*/ 623634 h 838012"/>
              <a:gd name="connsiteX68" fmla="*/ 931268 w 1015235"/>
              <a:gd name="connsiteY68" fmla="*/ 623216 h 838012"/>
              <a:gd name="connsiteX69" fmla="*/ 928702 w 1015235"/>
              <a:gd name="connsiteY69" fmla="*/ 628927 h 838012"/>
              <a:gd name="connsiteX70" fmla="*/ 924212 w 1015235"/>
              <a:gd name="connsiteY70" fmla="*/ 633594 h 838012"/>
              <a:gd name="connsiteX71" fmla="*/ 936591 w 1015235"/>
              <a:gd name="connsiteY71" fmla="*/ 654327 h 838012"/>
              <a:gd name="connsiteX72" fmla="*/ 924668 w 1015235"/>
              <a:gd name="connsiteY72" fmla="*/ 673018 h 838012"/>
              <a:gd name="connsiteX73" fmla="*/ 919436 w 1015235"/>
              <a:gd name="connsiteY73" fmla="*/ 675857 h 838012"/>
              <a:gd name="connsiteX74" fmla="*/ 917439 w 1015235"/>
              <a:gd name="connsiteY74" fmla="*/ 676436 h 838012"/>
              <a:gd name="connsiteX75" fmla="*/ 914321 w 1015235"/>
              <a:gd name="connsiteY75" fmla="*/ 681030 h 838012"/>
              <a:gd name="connsiteX76" fmla="*/ 910882 w 1015235"/>
              <a:gd name="connsiteY76" fmla="*/ 684105 h 838012"/>
              <a:gd name="connsiteX77" fmla="*/ 910040 w 1015235"/>
              <a:gd name="connsiteY77" fmla="*/ 688215 h 838012"/>
              <a:gd name="connsiteX78" fmla="*/ 906508 w 1015235"/>
              <a:gd name="connsiteY78" fmla="*/ 694102 h 838012"/>
              <a:gd name="connsiteX79" fmla="*/ 901005 w 1015235"/>
              <a:gd name="connsiteY79" fmla="*/ 702711 h 838012"/>
              <a:gd name="connsiteX80" fmla="*/ 902183 w 1015235"/>
              <a:gd name="connsiteY80" fmla="*/ 710119 h 838012"/>
              <a:gd name="connsiteX81" fmla="*/ 881064 w 1015235"/>
              <a:gd name="connsiteY81" fmla="*/ 741282 h 838012"/>
              <a:gd name="connsiteX82" fmla="*/ 885851 w 1015235"/>
              <a:gd name="connsiteY82" fmla="*/ 749240 h 838012"/>
              <a:gd name="connsiteX83" fmla="*/ 883466 w 1015235"/>
              <a:gd name="connsiteY83" fmla="*/ 751526 h 838012"/>
              <a:gd name="connsiteX84" fmla="*/ 872593 w 1015235"/>
              <a:gd name="connsiteY84" fmla="*/ 751576 h 838012"/>
              <a:gd name="connsiteX85" fmla="*/ 871489 w 1015235"/>
              <a:gd name="connsiteY85" fmla="*/ 759597 h 838012"/>
              <a:gd name="connsiteX86" fmla="*/ 866133 w 1015235"/>
              <a:gd name="connsiteY86" fmla="*/ 761498 h 838012"/>
              <a:gd name="connsiteX87" fmla="*/ 862781 w 1015235"/>
              <a:gd name="connsiteY87" fmla="*/ 772950 h 838012"/>
              <a:gd name="connsiteX88" fmla="*/ 857338 w 1015235"/>
              <a:gd name="connsiteY88" fmla="*/ 775002 h 838012"/>
              <a:gd name="connsiteX89" fmla="*/ 849533 w 1015235"/>
              <a:gd name="connsiteY89" fmla="*/ 779420 h 838012"/>
              <a:gd name="connsiteX90" fmla="*/ 851010 w 1015235"/>
              <a:gd name="connsiteY90" fmla="*/ 791263 h 838012"/>
              <a:gd name="connsiteX91" fmla="*/ 841646 w 1015235"/>
              <a:gd name="connsiteY91" fmla="*/ 803105 h 838012"/>
              <a:gd name="connsiteX92" fmla="*/ 831067 w 1015235"/>
              <a:gd name="connsiteY92" fmla="*/ 817510 h 838012"/>
              <a:gd name="connsiteX93" fmla="*/ 821434 w 1015235"/>
              <a:gd name="connsiteY93" fmla="*/ 829930 h 838012"/>
              <a:gd name="connsiteX94" fmla="*/ 814140 w 1015235"/>
              <a:gd name="connsiteY94" fmla="*/ 830581 h 838012"/>
              <a:gd name="connsiteX95" fmla="*/ 810516 w 1015235"/>
              <a:gd name="connsiteY95" fmla="*/ 838012 h 838012"/>
              <a:gd name="connsiteX96" fmla="*/ 807543 w 1015235"/>
              <a:gd name="connsiteY96" fmla="*/ 837628 h 838012"/>
              <a:gd name="connsiteX97" fmla="*/ 782611 w 1015235"/>
              <a:gd name="connsiteY97" fmla="*/ 821701 h 838012"/>
              <a:gd name="connsiteX98" fmla="*/ 777453 w 1015235"/>
              <a:gd name="connsiteY98" fmla="*/ 818191 h 838012"/>
              <a:gd name="connsiteX99" fmla="*/ 747218 w 1015235"/>
              <a:gd name="connsiteY99" fmla="*/ 800268 h 838012"/>
              <a:gd name="connsiteX100" fmla="*/ 748285 w 1015235"/>
              <a:gd name="connsiteY100" fmla="*/ 798420 h 838012"/>
              <a:gd name="connsiteX101" fmla="*/ 761657 w 1015235"/>
              <a:gd name="connsiteY101" fmla="*/ 806141 h 838012"/>
              <a:gd name="connsiteX102" fmla="*/ 745119 w 1015235"/>
              <a:gd name="connsiteY102" fmla="*/ 789732 h 838012"/>
              <a:gd name="connsiteX103" fmla="*/ 742193 w 1015235"/>
              <a:gd name="connsiteY103" fmla="*/ 787310 h 838012"/>
              <a:gd name="connsiteX104" fmla="*/ 736302 w 1015235"/>
              <a:gd name="connsiteY104" fmla="*/ 783110 h 838012"/>
              <a:gd name="connsiteX105" fmla="*/ 732511 w 1015235"/>
              <a:gd name="connsiteY105" fmla="*/ 783453 h 838012"/>
              <a:gd name="connsiteX106" fmla="*/ 732896 w 1015235"/>
              <a:gd name="connsiteY106" fmla="*/ 788204 h 838012"/>
              <a:gd name="connsiteX107" fmla="*/ 726746 w 1015235"/>
              <a:gd name="connsiteY107" fmla="*/ 792977 h 838012"/>
              <a:gd name="connsiteX108" fmla="*/ 730360 w 1015235"/>
              <a:gd name="connsiteY108" fmla="*/ 796397 h 838012"/>
              <a:gd name="connsiteX109" fmla="*/ 728660 w 1015235"/>
              <a:gd name="connsiteY109" fmla="*/ 796346 h 838012"/>
              <a:gd name="connsiteX110" fmla="*/ 718581 w 1015235"/>
              <a:gd name="connsiteY110" fmla="*/ 790527 h 838012"/>
              <a:gd name="connsiteX111" fmla="*/ 709067 w 1015235"/>
              <a:gd name="connsiteY111" fmla="*/ 786034 h 838012"/>
              <a:gd name="connsiteX112" fmla="*/ 689650 w 1015235"/>
              <a:gd name="connsiteY112" fmla="*/ 777953 h 838012"/>
              <a:gd name="connsiteX113" fmla="*/ 664227 w 1015235"/>
              <a:gd name="connsiteY113" fmla="*/ 762876 h 838012"/>
              <a:gd name="connsiteX114" fmla="*/ 600845 w 1015235"/>
              <a:gd name="connsiteY114" fmla="*/ 720555 h 838012"/>
              <a:gd name="connsiteX115" fmla="*/ 540838 w 1015235"/>
              <a:gd name="connsiteY115" fmla="*/ 680915 h 838012"/>
              <a:gd name="connsiteX116" fmla="*/ 461493 w 1015235"/>
              <a:gd name="connsiteY116" fmla="*/ 630177 h 838012"/>
              <a:gd name="connsiteX117" fmla="*/ 415944 w 1015235"/>
              <a:gd name="connsiteY117" fmla="*/ 601215 h 838012"/>
              <a:gd name="connsiteX118" fmla="*/ 391242 w 1015235"/>
              <a:gd name="connsiteY118" fmla="*/ 584889 h 838012"/>
              <a:gd name="connsiteX119" fmla="*/ 374602 w 1015235"/>
              <a:gd name="connsiteY119" fmla="*/ 574416 h 838012"/>
              <a:gd name="connsiteX120" fmla="*/ 363835 w 1015235"/>
              <a:gd name="connsiteY120" fmla="*/ 566334 h 838012"/>
              <a:gd name="connsiteX121" fmla="*/ 351729 w 1015235"/>
              <a:gd name="connsiteY121" fmla="*/ 559878 h 838012"/>
              <a:gd name="connsiteX122" fmla="*/ 346126 w 1015235"/>
              <a:gd name="connsiteY122" fmla="*/ 555178 h 838012"/>
              <a:gd name="connsiteX123" fmla="*/ 332189 w 1015235"/>
              <a:gd name="connsiteY123" fmla="*/ 546133 h 838012"/>
              <a:gd name="connsiteX124" fmla="*/ 314904 w 1015235"/>
              <a:gd name="connsiteY124" fmla="*/ 536086 h 838012"/>
              <a:gd name="connsiteX125" fmla="*/ 307175 w 1015235"/>
              <a:gd name="connsiteY125" fmla="*/ 527695 h 838012"/>
              <a:gd name="connsiteX126" fmla="*/ 297264 w 1015235"/>
              <a:gd name="connsiteY126" fmla="*/ 525502 h 838012"/>
              <a:gd name="connsiteX127" fmla="*/ 255186 w 1015235"/>
              <a:gd name="connsiteY127" fmla="*/ 497212 h 838012"/>
              <a:gd name="connsiteX128" fmla="*/ 227826 w 1015235"/>
              <a:gd name="connsiteY128" fmla="*/ 479152 h 838012"/>
              <a:gd name="connsiteX129" fmla="*/ 185166 w 1015235"/>
              <a:gd name="connsiteY129" fmla="*/ 451525 h 838012"/>
              <a:gd name="connsiteX130" fmla="*/ 140710 w 1015235"/>
              <a:gd name="connsiteY130" fmla="*/ 422861 h 838012"/>
              <a:gd name="connsiteX131" fmla="*/ 97956 w 1015235"/>
              <a:gd name="connsiteY131" fmla="*/ 395513 h 838012"/>
              <a:gd name="connsiteX132" fmla="*/ 60286 w 1015235"/>
              <a:gd name="connsiteY132" fmla="*/ 372034 h 838012"/>
              <a:gd name="connsiteX133" fmla="*/ 38795 w 1015235"/>
              <a:gd name="connsiteY133" fmla="*/ 356828 h 838012"/>
              <a:gd name="connsiteX134" fmla="*/ 12334 w 1015235"/>
              <a:gd name="connsiteY134" fmla="*/ 337555 h 838012"/>
              <a:gd name="connsiteX135" fmla="*/ 0 w 1015235"/>
              <a:gd name="connsiteY135" fmla="*/ 328036 h 838012"/>
              <a:gd name="connsiteX136" fmla="*/ 5940 w 1015235"/>
              <a:gd name="connsiteY136" fmla="*/ 323740 h 838012"/>
              <a:gd name="connsiteX137" fmla="*/ 7935 w 1015235"/>
              <a:gd name="connsiteY137" fmla="*/ 316367 h 838012"/>
              <a:gd name="connsiteX138" fmla="*/ 3579 w 1015235"/>
              <a:gd name="connsiteY138" fmla="*/ 311121 h 838012"/>
              <a:gd name="connsiteX139" fmla="*/ 12086 w 1015235"/>
              <a:gd name="connsiteY139" fmla="*/ 296387 h 838012"/>
              <a:gd name="connsiteX140" fmla="*/ 5541 w 1015235"/>
              <a:gd name="connsiteY140" fmla="*/ 279953 h 838012"/>
              <a:gd name="connsiteX141" fmla="*/ 4941 w 1015235"/>
              <a:gd name="connsiteY141" fmla="*/ 277076 h 838012"/>
              <a:gd name="connsiteX142" fmla="*/ 4588 w 1015235"/>
              <a:gd name="connsiteY142" fmla="*/ 262821 h 838012"/>
              <a:gd name="connsiteX143" fmla="*/ 3779 w 1015235"/>
              <a:gd name="connsiteY143" fmla="*/ 257425 h 838012"/>
              <a:gd name="connsiteX144" fmla="*/ 11861 w 1015235"/>
              <a:gd name="connsiteY144" fmla="*/ 256563 h 838012"/>
              <a:gd name="connsiteX145" fmla="*/ 15959 w 1015235"/>
              <a:gd name="connsiteY145" fmla="*/ 250271 h 838012"/>
              <a:gd name="connsiteX146" fmla="*/ 41720 w 1015235"/>
              <a:gd name="connsiteY146" fmla="*/ 257619 h 838012"/>
              <a:gd name="connsiteX147" fmla="*/ 39651 w 1015235"/>
              <a:gd name="connsiteY147" fmla="*/ 245302 h 838012"/>
              <a:gd name="connsiteX148" fmla="*/ 15731 w 1015235"/>
              <a:gd name="connsiteY148" fmla="*/ 225431 h 838012"/>
              <a:gd name="connsiteX149" fmla="*/ 13639 w 1015235"/>
              <a:gd name="connsiteY149" fmla="*/ 214766 h 838012"/>
              <a:gd name="connsiteX150" fmla="*/ 7754 w 1015235"/>
              <a:gd name="connsiteY150" fmla="*/ 207906 h 838012"/>
              <a:gd name="connsiteX151" fmla="*/ 9976 w 1015235"/>
              <a:gd name="connsiteY151" fmla="*/ 206591 h 838012"/>
              <a:gd name="connsiteX152" fmla="*/ 18082 w 1015235"/>
              <a:gd name="connsiteY152" fmla="*/ 206609 h 838012"/>
              <a:gd name="connsiteX153" fmla="*/ 24063 w 1015235"/>
              <a:gd name="connsiteY153" fmla="*/ 196942 h 838012"/>
              <a:gd name="connsiteX154" fmla="*/ 23413 w 1015235"/>
              <a:gd name="connsiteY154" fmla="*/ 186776 h 838012"/>
              <a:gd name="connsiteX155" fmla="*/ 23248 w 1015235"/>
              <a:gd name="connsiteY155" fmla="*/ 173694 h 838012"/>
              <a:gd name="connsiteX156" fmla="*/ 24094 w 1015235"/>
              <a:gd name="connsiteY156" fmla="*/ 171652 h 838012"/>
              <a:gd name="connsiteX157" fmla="*/ 38390 w 1015235"/>
              <a:gd name="connsiteY157" fmla="*/ 157263 h 838012"/>
              <a:gd name="connsiteX158" fmla="*/ 39448 w 1015235"/>
              <a:gd name="connsiteY158" fmla="*/ 157273 h 838012"/>
              <a:gd name="connsiteX159" fmla="*/ 55546 w 1015235"/>
              <a:gd name="connsiteY159" fmla="*/ 167301 h 838012"/>
              <a:gd name="connsiteX160" fmla="*/ 72525 w 1015235"/>
              <a:gd name="connsiteY160" fmla="*/ 175571 h 838012"/>
              <a:gd name="connsiteX161" fmla="*/ 78252 w 1015235"/>
              <a:gd name="connsiteY161" fmla="*/ 178212 h 838012"/>
              <a:gd name="connsiteX162" fmla="*/ 87556 w 1015235"/>
              <a:gd name="connsiteY162" fmla="*/ 183185 h 838012"/>
              <a:gd name="connsiteX163" fmla="*/ 117942 w 1015235"/>
              <a:gd name="connsiteY163" fmla="*/ 200728 h 838012"/>
              <a:gd name="connsiteX164" fmla="*/ 115318 w 1015235"/>
              <a:gd name="connsiteY164" fmla="*/ 198013 h 838012"/>
              <a:gd name="connsiteX165" fmla="*/ 112574 w 1015235"/>
              <a:gd name="connsiteY165" fmla="*/ 189170 h 838012"/>
              <a:gd name="connsiteX166" fmla="*/ 104106 w 1015235"/>
              <a:gd name="connsiteY166" fmla="*/ 182749 h 838012"/>
              <a:gd name="connsiteX167" fmla="*/ 104183 w 1015235"/>
              <a:gd name="connsiteY167" fmla="*/ 175934 h 838012"/>
              <a:gd name="connsiteX168" fmla="*/ 64018 w 1015235"/>
              <a:gd name="connsiteY168" fmla="*/ 143754 h 838012"/>
              <a:gd name="connsiteX169" fmla="*/ 64881 w 1015235"/>
              <a:gd name="connsiteY169" fmla="*/ 135461 h 838012"/>
              <a:gd name="connsiteX170" fmla="*/ 64904 w 1015235"/>
              <a:gd name="connsiteY170" fmla="*/ 135075 h 838012"/>
              <a:gd name="connsiteX171" fmla="*/ 60795 w 1015235"/>
              <a:gd name="connsiteY171" fmla="*/ 129173 h 838012"/>
              <a:gd name="connsiteX172" fmla="*/ 62831 w 1015235"/>
              <a:gd name="connsiteY172" fmla="*/ 127950 h 838012"/>
              <a:gd name="connsiteX173" fmla="*/ 75349 w 1015235"/>
              <a:gd name="connsiteY173" fmla="*/ 131847 h 838012"/>
              <a:gd name="connsiteX174" fmla="*/ 80856 w 1015235"/>
              <a:gd name="connsiteY174" fmla="*/ 127035 h 838012"/>
              <a:gd name="connsiteX175" fmla="*/ 84322 w 1015235"/>
              <a:gd name="connsiteY175" fmla="*/ 128636 h 838012"/>
              <a:gd name="connsiteX176" fmla="*/ 112535 w 1015235"/>
              <a:gd name="connsiteY176" fmla="*/ 149254 h 838012"/>
              <a:gd name="connsiteX177" fmla="*/ 116952 w 1015235"/>
              <a:gd name="connsiteY177" fmla="*/ 152204 h 838012"/>
              <a:gd name="connsiteX178" fmla="*/ 123926 w 1015235"/>
              <a:gd name="connsiteY178" fmla="*/ 151302 h 838012"/>
              <a:gd name="connsiteX179" fmla="*/ 124721 w 1015235"/>
              <a:gd name="connsiteY179" fmla="*/ 144968 h 838012"/>
              <a:gd name="connsiteX180" fmla="*/ 112167 w 1015235"/>
              <a:gd name="connsiteY180" fmla="*/ 135256 h 838012"/>
              <a:gd name="connsiteX181" fmla="*/ 109551 w 1015235"/>
              <a:gd name="connsiteY181" fmla="*/ 129416 h 838012"/>
              <a:gd name="connsiteX182" fmla="*/ 121624 w 1015235"/>
              <a:gd name="connsiteY182" fmla="*/ 133856 h 838012"/>
              <a:gd name="connsiteX183" fmla="*/ 121039 w 1015235"/>
              <a:gd name="connsiteY183" fmla="*/ 124728 h 838012"/>
              <a:gd name="connsiteX184" fmla="*/ 135340 w 1015235"/>
              <a:gd name="connsiteY184" fmla="*/ 132452 h 838012"/>
              <a:gd name="connsiteX185" fmla="*/ 138090 w 1015235"/>
              <a:gd name="connsiteY185" fmla="*/ 122850 h 838012"/>
              <a:gd name="connsiteX186" fmla="*/ 130624 w 1015235"/>
              <a:gd name="connsiteY186" fmla="*/ 111814 h 838012"/>
              <a:gd name="connsiteX187" fmla="*/ 149480 w 1015235"/>
              <a:gd name="connsiteY187" fmla="*/ 119370 h 838012"/>
              <a:gd name="connsiteX188" fmla="*/ 193368 w 1015235"/>
              <a:gd name="connsiteY188" fmla="*/ 148904 h 838012"/>
              <a:gd name="connsiteX189" fmla="*/ 229735 w 1015235"/>
              <a:gd name="connsiteY189" fmla="*/ 172564 h 838012"/>
              <a:gd name="connsiteX190" fmla="*/ 237058 w 1015235"/>
              <a:gd name="connsiteY190" fmla="*/ 176127 h 838012"/>
              <a:gd name="connsiteX191" fmla="*/ 235116 w 1015235"/>
              <a:gd name="connsiteY191" fmla="*/ 171542 h 838012"/>
              <a:gd name="connsiteX192" fmla="*/ 203492 w 1015235"/>
              <a:gd name="connsiteY192" fmla="*/ 148422 h 838012"/>
              <a:gd name="connsiteX193" fmla="*/ 161015 w 1015235"/>
              <a:gd name="connsiteY193" fmla="*/ 116905 h 838012"/>
              <a:gd name="connsiteX194" fmla="*/ 143626 w 1015235"/>
              <a:gd name="connsiteY194" fmla="*/ 101738 h 838012"/>
              <a:gd name="connsiteX195" fmla="*/ 132322 w 1015235"/>
              <a:gd name="connsiteY195" fmla="*/ 92281 h 838012"/>
              <a:gd name="connsiteX196" fmla="*/ 126570 w 1015235"/>
              <a:gd name="connsiteY196" fmla="*/ 87494 h 838012"/>
              <a:gd name="connsiteX197" fmla="*/ 133895 w 1015235"/>
              <a:gd name="connsiteY197" fmla="*/ 83333 h 838012"/>
              <a:gd name="connsiteX198" fmla="*/ 140453 w 1015235"/>
              <a:gd name="connsiteY198" fmla="*/ 79926 h 838012"/>
              <a:gd name="connsiteX199" fmla="*/ 144392 w 1015235"/>
              <a:gd name="connsiteY199" fmla="*/ 78404 h 838012"/>
              <a:gd name="connsiteX200" fmla="*/ 149673 w 1015235"/>
              <a:gd name="connsiteY200" fmla="*/ 65801 h 838012"/>
              <a:gd name="connsiteX201" fmla="*/ 148421 w 1015235"/>
              <a:gd name="connsiteY201" fmla="*/ 63014 h 838012"/>
              <a:gd name="connsiteX202" fmla="*/ 159053 w 1015235"/>
              <a:gd name="connsiteY202" fmla="*/ 40449 h 838012"/>
              <a:gd name="connsiteX203" fmla="*/ 155225 w 1015235"/>
              <a:gd name="connsiteY203" fmla="*/ 23920 h 838012"/>
              <a:gd name="connsiteX204" fmla="*/ 169033 w 1015235"/>
              <a:gd name="connsiteY204" fmla="*/ 32958 h 838012"/>
              <a:gd name="connsiteX205" fmla="*/ 180674 w 1015235"/>
              <a:gd name="connsiteY205" fmla="*/ 36880 h 838012"/>
              <a:gd name="connsiteX206" fmla="*/ 187271 w 1015235"/>
              <a:gd name="connsiteY206" fmla="*/ 39625 h 838012"/>
              <a:gd name="connsiteX207" fmla="*/ 255272 w 1015235"/>
              <a:gd name="connsiteY207" fmla="*/ 84546 h 838012"/>
              <a:gd name="connsiteX208" fmla="*/ 282679 w 1015235"/>
              <a:gd name="connsiteY208" fmla="*/ 100568 h 838012"/>
              <a:gd name="connsiteX209" fmla="*/ 291371 w 1015235"/>
              <a:gd name="connsiteY209" fmla="*/ 101991 h 838012"/>
              <a:gd name="connsiteX210" fmla="*/ 287962 w 1015235"/>
              <a:gd name="connsiteY210" fmla="*/ 97292 h 838012"/>
              <a:gd name="connsiteX211" fmla="*/ 265453 w 1015235"/>
              <a:gd name="connsiteY211" fmla="*/ 81433 h 838012"/>
              <a:gd name="connsiteX212" fmla="*/ 236677 w 1015235"/>
              <a:gd name="connsiteY212" fmla="*/ 62021 h 838012"/>
              <a:gd name="connsiteX213" fmla="*/ 236545 w 1015235"/>
              <a:gd name="connsiteY213" fmla="*/ 55219 h 838012"/>
              <a:gd name="connsiteX214" fmla="*/ 220093 w 1015235"/>
              <a:gd name="connsiteY214" fmla="*/ 41658 h 838012"/>
              <a:gd name="connsiteX215" fmla="*/ 201527 w 1015235"/>
              <a:gd name="connsiteY215" fmla="*/ 27609 h 838012"/>
              <a:gd name="connsiteX216" fmla="*/ 184116 w 1015235"/>
              <a:gd name="connsiteY216" fmla="*/ 14094 h 838012"/>
              <a:gd name="connsiteX217" fmla="*/ 183006 w 1015235"/>
              <a:gd name="connsiteY217" fmla="*/ 0 h 83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1015235" h="838012">
                <a:moveTo>
                  <a:pt x="741388" y="792506"/>
                </a:moveTo>
                <a:cubicBezTo>
                  <a:pt x="741701" y="792887"/>
                  <a:pt x="741848" y="793438"/>
                  <a:pt x="742053" y="793890"/>
                </a:cubicBezTo>
                <a:cubicBezTo>
                  <a:pt x="741738" y="793974"/>
                  <a:pt x="741402" y="793980"/>
                  <a:pt x="741117" y="794014"/>
                </a:cubicBezTo>
                <a:cubicBezTo>
                  <a:pt x="740911" y="793563"/>
                  <a:pt x="740684" y="793033"/>
                  <a:pt x="740479" y="792582"/>
                </a:cubicBezTo>
                <a:cubicBezTo>
                  <a:pt x="740815" y="792576"/>
                  <a:pt x="741267" y="792370"/>
                  <a:pt x="741388" y="792506"/>
                </a:cubicBezTo>
                <a:close/>
                <a:moveTo>
                  <a:pt x="1006181" y="556377"/>
                </a:moveTo>
                <a:lnTo>
                  <a:pt x="1006916" y="556602"/>
                </a:lnTo>
                <a:lnTo>
                  <a:pt x="1006478" y="557015"/>
                </a:lnTo>
                <a:close/>
                <a:moveTo>
                  <a:pt x="183006" y="0"/>
                </a:moveTo>
                <a:cubicBezTo>
                  <a:pt x="185891" y="533"/>
                  <a:pt x="189570" y="2457"/>
                  <a:pt x="191806" y="1350"/>
                </a:cubicBezTo>
                <a:cubicBezTo>
                  <a:pt x="197545" y="-1330"/>
                  <a:pt x="201109" y="2060"/>
                  <a:pt x="205143" y="4522"/>
                </a:cubicBezTo>
                <a:cubicBezTo>
                  <a:pt x="216653" y="11434"/>
                  <a:pt x="227379" y="19358"/>
                  <a:pt x="237623" y="28003"/>
                </a:cubicBezTo>
                <a:cubicBezTo>
                  <a:pt x="239759" y="29835"/>
                  <a:pt x="242340" y="31125"/>
                  <a:pt x="244727" y="32636"/>
                </a:cubicBezTo>
                <a:cubicBezTo>
                  <a:pt x="251589" y="36999"/>
                  <a:pt x="258488" y="41182"/>
                  <a:pt x="265292" y="45642"/>
                </a:cubicBezTo>
                <a:cubicBezTo>
                  <a:pt x="280312" y="55580"/>
                  <a:pt x="295224" y="65587"/>
                  <a:pt x="310214" y="75575"/>
                </a:cubicBezTo>
                <a:cubicBezTo>
                  <a:pt x="314333" y="78352"/>
                  <a:pt x="318430" y="81050"/>
                  <a:pt x="322605" y="83727"/>
                </a:cubicBezTo>
                <a:cubicBezTo>
                  <a:pt x="324992" y="85238"/>
                  <a:pt x="327219" y="87257"/>
                  <a:pt x="329832" y="88032"/>
                </a:cubicBezTo>
                <a:cubicBezTo>
                  <a:pt x="343280" y="91934"/>
                  <a:pt x="354022" y="100867"/>
                  <a:pt x="366021" y="107394"/>
                </a:cubicBezTo>
                <a:cubicBezTo>
                  <a:pt x="381191" y="115687"/>
                  <a:pt x="395958" y="124678"/>
                  <a:pt x="410877" y="133292"/>
                </a:cubicBezTo>
                <a:cubicBezTo>
                  <a:pt x="412574" y="134271"/>
                  <a:pt x="414781" y="134481"/>
                  <a:pt x="416823" y="134861"/>
                </a:cubicBezTo>
                <a:cubicBezTo>
                  <a:pt x="418895" y="135191"/>
                  <a:pt x="421105" y="134935"/>
                  <a:pt x="423032" y="135515"/>
                </a:cubicBezTo>
                <a:cubicBezTo>
                  <a:pt x="425816" y="136456"/>
                  <a:pt x="428596" y="137862"/>
                  <a:pt x="425625" y="141740"/>
                </a:cubicBezTo>
                <a:cubicBezTo>
                  <a:pt x="430268" y="143955"/>
                  <a:pt x="433661" y="147179"/>
                  <a:pt x="438865" y="145655"/>
                </a:cubicBezTo>
                <a:cubicBezTo>
                  <a:pt x="440125" y="145317"/>
                  <a:pt x="442163" y="146626"/>
                  <a:pt x="443466" y="147712"/>
                </a:cubicBezTo>
                <a:cubicBezTo>
                  <a:pt x="451524" y="154495"/>
                  <a:pt x="461103" y="158761"/>
                  <a:pt x="469903" y="164374"/>
                </a:cubicBezTo>
                <a:cubicBezTo>
                  <a:pt x="484227" y="173443"/>
                  <a:pt x="500238" y="179357"/>
                  <a:pt x="514446" y="188625"/>
                </a:cubicBezTo>
                <a:cubicBezTo>
                  <a:pt x="517403" y="190532"/>
                  <a:pt x="520677" y="191891"/>
                  <a:pt x="523778" y="193547"/>
                </a:cubicBezTo>
                <a:cubicBezTo>
                  <a:pt x="525953" y="194737"/>
                  <a:pt x="528694" y="195520"/>
                  <a:pt x="530107" y="197335"/>
                </a:cubicBezTo>
                <a:cubicBezTo>
                  <a:pt x="535123" y="203627"/>
                  <a:pt x="542033" y="205486"/>
                  <a:pt x="549403" y="207010"/>
                </a:cubicBezTo>
                <a:cubicBezTo>
                  <a:pt x="552795" y="207703"/>
                  <a:pt x="556024" y="209368"/>
                  <a:pt x="559155" y="210975"/>
                </a:cubicBezTo>
                <a:cubicBezTo>
                  <a:pt x="576061" y="219603"/>
                  <a:pt x="593341" y="227582"/>
                  <a:pt x="609202" y="238138"/>
                </a:cubicBezTo>
                <a:cubicBezTo>
                  <a:pt x="616941" y="239942"/>
                  <a:pt x="622612" y="245215"/>
                  <a:pt x="628967" y="249417"/>
                </a:cubicBezTo>
                <a:cubicBezTo>
                  <a:pt x="633934" y="252684"/>
                  <a:pt x="639699" y="254681"/>
                  <a:pt x="644312" y="258675"/>
                </a:cubicBezTo>
                <a:cubicBezTo>
                  <a:pt x="645294" y="259509"/>
                  <a:pt x="646857" y="260145"/>
                  <a:pt x="648172" y="260172"/>
                </a:cubicBezTo>
                <a:cubicBezTo>
                  <a:pt x="653911" y="260487"/>
                  <a:pt x="657984" y="263572"/>
                  <a:pt x="661803" y="267442"/>
                </a:cubicBezTo>
                <a:cubicBezTo>
                  <a:pt x="663019" y="268677"/>
                  <a:pt x="664376" y="270592"/>
                  <a:pt x="665840" y="270705"/>
                </a:cubicBezTo>
                <a:cubicBezTo>
                  <a:pt x="674035" y="271374"/>
                  <a:pt x="679474" y="277511"/>
                  <a:pt x="686270" y="280835"/>
                </a:cubicBezTo>
                <a:cubicBezTo>
                  <a:pt x="695069" y="285183"/>
                  <a:pt x="703190" y="290937"/>
                  <a:pt x="711607" y="296063"/>
                </a:cubicBezTo>
                <a:cubicBezTo>
                  <a:pt x="726344" y="305105"/>
                  <a:pt x="741082" y="314146"/>
                  <a:pt x="755771" y="323159"/>
                </a:cubicBezTo>
                <a:cubicBezTo>
                  <a:pt x="768663" y="331135"/>
                  <a:pt x="781641" y="338961"/>
                  <a:pt x="794417" y="347137"/>
                </a:cubicBezTo>
                <a:cubicBezTo>
                  <a:pt x="800880" y="351267"/>
                  <a:pt x="806667" y="356340"/>
                  <a:pt x="814057" y="359209"/>
                </a:cubicBezTo>
                <a:cubicBezTo>
                  <a:pt x="819231" y="361197"/>
                  <a:pt x="823672" y="365026"/>
                  <a:pt x="828310" y="368170"/>
                </a:cubicBezTo>
                <a:cubicBezTo>
                  <a:pt x="837907" y="374709"/>
                  <a:pt x="847359" y="381499"/>
                  <a:pt x="857013" y="387939"/>
                </a:cubicBezTo>
                <a:cubicBezTo>
                  <a:pt x="865078" y="393327"/>
                  <a:pt x="872480" y="399865"/>
                  <a:pt x="881568" y="403714"/>
                </a:cubicBezTo>
                <a:cubicBezTo>
                  <a:pt x="883757" y="404645"/>
                  <a:pt x="886538" y="406051"/>
                  <a:pt x="887479" y="407993"/>
                </a:cubicBezTo>
                <a:cubicBezTo>
                  <a:pt x="890027" y="413259"/>
                  <a:pt x="894678" y="415345"/>
                  <a:pt x="899218" y="417966"/>
                </a:cubicBezTo>
                <a:cubicBezTo>
                  <a:pt x="901862" y="419493"/>
                  <a:pt x="903626" y="422776"/>
                  <a:pt x="906365" y="424024"/>
                </a:cubicBezTo>
                <a:cubicBezTo>
                  <a:pt x="916243" y="428462"/>
                  <a:pt x="922489" y="437463"/>
                  <a:pt x="931447" y="443034"/>
                </a:cubicBezTo>
                <a:cubicBezTo>
                  <a:pt x="936250" y="446007"/>
                  <a:pt x="940794" y="449429"/>
                  <a:pt x="945778" y="451975"/>
                </a:cubicBezTo>
                <a:cubicBezTo>
                  <a:pt x="950313" y="454259"/>
                  <a:pt x="954109" y="457250"/>
                  <a:pt x="957120" y="461252"/>
                </a:cubicBezTo>
                <a:cubicBezTo>
                  <a:pt x="962950" y="469014"/>
                  <a:pt x="970713" y="474695"/>
                  <a:pt x="979011" y="479221"/>
                </a:cubicBezTo>
                <a:cubicBezTo>
                  <a:pt x="986083" y="483104"/>
                  <a:pt x="991009" y="488744"/>
                  <a:pt x="995949" y="494593"/>
                </a:cubicBezTo>
                <a:cubicBezTo>
                  <a:pt x="997541" y="496445"/>
                  <a:pt x="998587" y="498780"/>
                  <a:pt x="999935" y="500824"/>
                </a:cubicBezTo>
                <a:cubicBezTo>
                  <a:pt x="1002286" y="504358"/>
                  <a:pt x="1006012" y="506509"/>
                  <a:pt x="1011112" y="507277"/>
                </a:cubicBezTo>
                <a:cubicBezTo>
                  <a:pt x="1016261" y="513914"/>
                  <a:pt x="1015480" y="521719"/>
                  <a:pt x="1014577" y="529391"/>
                </a:cubicBezTo>
                <a:cubicBezTo>
                  <a:pt x="1014361" y="531264"/>
                  <a:pt x="1012679" y="533024"/>
                  <a:pt x="1011570" y="534713"/>
                </a:cubicBezTo>
                <a:cubicBezTo>
                  <a:pt x="1010086" y="537054"/>
                  <a:pt x="1007982" y="538970"/>
                  <a:pt x="1008224" y="542240"/>
                </a:cubicBezTo>
                <a:cubicBezTo>
                  <a:pt x="1008298" y="543147"/>
                  <a:pt x="1006889" y="544665"/>
                  <a:pt x="1005829" y="545119"/>
                </a:cubicBezTo>
                <a:cubicBezTo>
                  <a:pt x="1004052" y="545891"/>
                  <a:pt x="1003439" y="547069"/>
                  <a:pt x="1002537" y="548746"/>
                </a:cubicBezTo>
                <a:cubicBezTo>
                  <a:pt x="999198" y="554877"/>
                  <a:pt x="994833" y="555753"/>
                  <a:pt x="988704" y="552081"/>
                </a:cubicBezTo>
                <a:cubicBezTo>
                  <a:pt x="987307" y="551275"/>
                  <a:pt x="985822" y="550617"/>
                  <a:pt x="984496" y="549919"/>
                </a:cubicBezTo>
                <a:cubicBezTo>
                  <a:pt x="981844" y="552784"/>
                  <a:pt x="983367" y="555793"/>
                  <a:pt x="982477" y="559408"/>
                </a:cubicBezTo>
                <a:cubicBezTo>
                  <a:pt x="979701" y="561336"/>
                  <a:pt x="976280" y="563690"/>
                  <a:pt x="972779" y="566064"/>
                </a:cubicBezTo>
                <a:cubicBezTo>
                  <a:pt x="972078" y="572119"/>
                  <a:pt x="971319" y="578274"/>
                  <a:pt x="970667" y="584358"/>
                </a:cubicBezTo>
                <a:cubicBezTo>
                  <a:pt x="964927" y="588769"/>
                  <a:pt x="960495" y="594602"/>
                  <a:pt x="953092" y="595324"/>
                </a:cubicBezTo>
                <a:cubicBezTo>
                  <a:pt x="950768" y="603883"/>
                  <a:pt x="950686" y="610362"/>
                  <a:pt x="952848" y="614762"/>
                </a:cubicBezTo>
                <a:cubicBezTo>
                  <a:pt x="950028" y="615265"/>
                  <a:pt x="947338" y="615777"/>
                  <a:pt x="944104" y="616307"/>
                </a:cubicBezTo>
                <a:cubicBezTo>
                  <a:pt x="944309" y="618490"/>
                  <a:pt x="944562" y="620701"/>
                  <a:pt x="944798" y="623634"/>
                </a:cubicBezTo>
                <a:cubicBezTo>
                  <a:pt x="940031" y="623479"/>
                  <a:pt x="935571" y="623368"/>
                  <a:pt x="931268" y="623216"/>
                </a:cubicBezTo>
                <a:cubicBezTo>
                  <a:pt x="930335" y="625408"/>
                  <a:pt x="929754" y="627337"/>
                  <a:pt x="928702" y="628927"/>
                </a:cubicBezTo>
                <a:cubicBezTo>
                  <a:pt x="927544" y="630589"/>
                  <a:pt x="925864" y="631884"/>
                  <a:pt x="924212" y="633594"/>
                </a:cubicBezTo>
                <a:cubicBezTo>
                  <a:pt x="928052" y="640539"/>
                  <a:pt x="935056" y="645116"/>
                  <a:pt x="936591" y="654327"/>
                </a:cubicBezTo>
                <a:cubicBezTo>
                  <a:pt x="935199" y="661116"/>
                  <a:pt x="930785" y="667492"/>
                  <a:pt x="924668" y="673018"/>
                </a:cubicBezTo>
                <a:cubicBezTo>
                  <a:pt x="923003" y="674520"/>
                  <a:pt x="921731" y="675918"/>
                  <a:pt x="919436" y="675857"/>
                </a:cubicBezTo>
                <a:cubicBezTo>
                  <a:pt x="918793" y="675820"/>
                  <a:pt x="918127" y="676167"/>
                  <a:pt x="917439" y="676436"/>
                </a:cubicBezTo>
                <a:cubicBezTo>
                  <a:pt x="915297" y="677264"/>
                  <a:pt x="917408" y="681214"/>
                  <a:pt x="914321" y="681030"/>
                </a:cubicBezTo>
                <a:cubicBezTo>
                  <a:pt x="911799" y="680905"/>
                  <a:pt x="911440" y="682563"/>
                  <a:pt x="910882" y="684105"/>
                </a:cubicBezTo>
                <a:cubicBezTo>
                  <a:pt x="910389" y="685420"/>
                  <a:pt x="910125" y="686799"/>
                  <a:pt x="910040" y="688215"/>
                </a:cubicBezTo>
                <a:cubicBezTo>
                  <a:pt x="909905" y="690868"/>
                  <a:pt x="909187" y="692917"/>
                  <a:pt x="906508" y="694102"/>
                </a:cubicBezTo>
                <a:cubicBezTo>
                  <a:pt x="902926" y="695696"/>
                  <a:pt x="901971" y="699541"/>
                  <a:pt x="901005" y="702711"/>
                </a:cubicBezTo>
                <a:cubicBezTo>
                  <a:pt x="900366" y="704741"/>
                  <a:pt x="901703" y="707378"/>
                  <a:pt x="902183" y="710119"/>
                </a:cubicBezTo>
                <a:cubicBezTo>
                  <a:pt x="895408" y="720126"/>
                  <a:pt x="888380" y="730454"/>
                  <a:pt x="881064" y="741282"/>
                </a:cubicBezTo>
                <a:cubicBezTo>
                  <a:pt x="882660" y="743935"/>
                  <a:pt x="884205" y="746559"/>
                  <a:pt x="885851" y="749240"/>
                </a:cubicBezTo>
                <a:cubicBezTo>
                  <a:pt x="884887" y="750216"/>
                  <a:pt x="884217" y="751494"/>
                  <a:pt x="883466" y="751526"/>
                </a:cubicBezTo>
                <a:cubicBezTo>
                  <a:pt x="880020" y="751735"/>
                  <a:pt x="876517" y="751577"/>
                  <a:pt x="872593" y="751576"/>
                </a:cubicBezTo>
                <a:cubicBezTo>
                  <a:pt x="870361" y="753484"/>
                  <a:pt x="872041" y="756451"/>
                  <a:pt x="871489" y="759597"/>
                </a:cubicBezTo>
                <a:cubicBezTo>
                  <a:pt x="869906" y="760148"/>
                  <a:pt x="867867" y="760569"/>
                  <a:pt x="866133" y="761498"/>
                </a:cubicBezTo>
                <a:cubicBezTo>
                  <a:pt x="860672" y="764274"/>
                  <a:pt x="860243" y="765824"/>
                  <a:pt x="862781" y="772950"/>
                </a:cubicBezTo>
                <a:cubicBezTo>
                  <a:pt x="860955" y="773694"/>
                  <a:pt x="858809" y="775452"/>
                  <a:pt x="857338" y="775002"/>
                </a:cubicBezTo>
                <a:cubicBezTo>
                  <a:pt x="852907" y="773576"/>
                  <a:pt x="852052" y="777477"/>
                  <a:pt x="849533" y="779420"/>
                </a:cubicBezTo>
                <a:cubicBezTo>
                  <a:pt x="849986" y="783012"/>
                  <a:pt x="850454" y="786812"/>
                  <a:pt x="851010" y="791263"/>
                </a:cubicBezTo>
                <a:cubicBezTo>
                  <a:pt x="846716" y="793977"/>
                  <a:pt x="844099" y="798395"/>
                  <a:pt x="841646" y="803105"/>
                </a:cubicBezTo>
                <a:cubicBezTo>
                  <a:pt x="838875" y="808366"/>
                  <a:pt x="835705" y="813394"/>
                  <a:pt x="831067" y="817510"/>
                </a:cubicBezTo>
                <a:cubicBezTo>
                  <a:pt x="827491" y="820707"/>
                  <a:pt x="825082" y="825110"/>
                  <a:pt x="821434" y="829930"/>
                </a:cubicBezTo>
                <a:cubicBezTo>
                  <a:pt x="819825" y="830067"/>
                  <a:pt x="817101" y="830292"/>
                  <a:pt x="814140" y="830581"/>
                </a:cubicBezTo>
                <a:cubicBezTo>
                  <a:pt x="812963" y="832965"/>
                  <a:pt x="811758" y="835398"/>
                  <a:pt x="810516" y="838012"/>
                </a:cubicBezTo>
                <a:cubicBezTo>
                  <a:pt x="809565" y="837929"/>
                  <a:pt x="808342" y="838089"/>
                  <a:pt x="807543" y="837628"/>
                </a:cubicBezTo>
                <a:cubicBezTo>
                  <a:pt x="799184" y="832402"/>
                  <a:pt x="790912" y="827027"/>
                  <a:pt x="782611" y="821701"/>
                </a:cubicBezTo>
                <a:cubicBezTo>
                  <a:pt x="780872" y="820564"/>
                  <a:pt x="779380" y="818770"/>
                  <a:pt x="777453" y="818191"/>
                </a:cubicBezTo>
                <a:cubicBezTo>
                  <a:pt x="765761" y="814703"/>
                  <a:pt x="758225" y="804825"/>
                  <a:pt x="747218" y="800268"/>
                </a:cubicBezTo>
                <a:cubicBezTo>
                  <a:pt x="747564" y="799669"/>
                  <a:pt x="747939" y="799019"/>
                  <a:pt x="748285" y="798420"/>
                </a:cubicBezTo>
                <a:lnTo>
                  <a:pt x="761657" y="806141"/>
                </a:lnTo>
                <a:cubicBezTo>
                  <a:pt x="756577" y="800077"/>
                  <a:pt x="752694" y="792974"/>
                  <a:pt x="745119" y="789732"/>
                </a:cubicBezTo>
                <a:cubicBezTo>
                  <a:pt x="743985" y="789277"/>
                  <a:pt x="743204" y="788094"/>
                  <a:pt x="742193" y="787310"/>
                </a:cubicBezTo>
                <a:cubicBezTo>
                  <a:pt x="740241" y="785851"/>
                  <a:pt x="738405" y="784191"/>
                  <a:pt x="736302" y="783110"/>
                </a:cubicBezTo>
                <a:cubicBezTo>
                  <a:pt x="735353" y="782563"/>
                  <a:pt x="733430" y="782784"/>
                  <a:pt x="732511" y="783453"/>
                </a:cubicBezTo>
                <a:cubicBezTo>
                  <a:pt x="730439" y="784853"/>
                  <a:pt x="732196" y="786534"/>
                  <a:pt x="732896" y="788204"/>
                </a:cubicBezTo>
                <a:cubicBezTo>
                  <a:pt x="730376" y="788879"/>
                  <a:pt x="727494" y="789147"/>
                  <a:pt x="726746" y="792977"/>
                </a:cubicBezTo>
                <a:cubicBezTo>
                  <a:pt x="727771" y="793968"/>
                  <a:pt x="728994" y="795074"/>
                  <a:pt x="730360" y="796397"/>
                </a:cubicBezTo>
                <a:cubicBezTo>
                  <a:pt x="729689" y="796408"/>
                  <a:pt x="729059" y="796577"/>
                  <a:pt x="728660" y="796346"/>
                </a:cubicBezTo>
                <a:cubicBezTo>
                  <a:pt x="725317" y="794416"/>
                  <a:pt x="721981" y="792358"/>
                  <a:pt x="718581" y="790527"/>
                </a:cubicBezTo>
                <a:cubicBezTo>
                  <a:pt x="715479" y="788870"/>
                  <a:pt x="712380" y="786748"/>
                  <a:pt x="709067" y="786034"/>
                </a:cubicBezTo>
                <a:cubicBezTo>
                  <a:pt x="702034" y="784504"/>
                  <a:pt x="696033" y="780840"/>
                  <a:pt x="689650" y="777953"/>
                </a:cubicBezTo>
                <a:cubicBezTo>
                  <a:pt x="680549" y="773897"/>
                  <a:pt x="672441" y="768352"/>
                  <a:pt x="664227" y="762876"/>
                </a:cubicBezTo>
                <a:cubicBezTo>
                  <a:pt x="643137" y="748702"/>
                  <a:pt x="621991" y="734628"/>
                  <a:pt x="600845" y="720555"/>
                </a:cubicBezTo>
                <a:cubicBezTo>
                  <a:pt x="580888" y="707301"/>
                  <a:pt x="560910" y="693969"/>
                  <a:pt x="540838" y="680915"/>
                </a:cubicBezTo>
                <a:cubicBezTo>
                  <a:pt x="514503" y="663845"/>
                  <a:pt x="487944" y="647046"/>
                  <a:pt x="461493" y="630177"/>
                </a:cubicBezTo>
                <a:cubicBezTo>
                  <a:pt x="446329" y="620490"/>
                  <a:pt x="431079" y="610952"/>
                  <a:pt x="415944" y="601215"/>
                </a:cubicBezTo>
                <a:cubicBezTo>
                  <a:pt x="407643" y="595890"/>
                  <a:pt x="399205" y="590685"/>
                  <a:pt x="391242" y="584889"/>
                </a:cubicBezTo>
                <a:cubicBezTo>
                  <a:pt x="385900" y="581005"/>
                  <a:pt x="380456" y="577529"/>
                  <a:pt x="374602" y="574416"/>
                </a:cubicBezTo>
                <a:cubicBezTo>
                  <a:pt x="370674" y="572348"/>
                  <a:pt x="367640" y="568731"/>
                  <a:pt x="363835" y="566334"/>
                </a:cubicBezTo>
                <a:cubicBezTo>
                  <a:pt x="360007" y="563859"/>
                  <a:pt x="355641" y="562203"/>
                  <a:pt x="351729" y="559878"/>
                </a:cubicBezTo>
                <a:cubicBezTo>
                  <a:pt x="349633" y="558668"/>
                  <a:pt x="347775" y="556930"/>
                  <a:pt x="346126" y="555178"/>
                </a:cubicBezTo>
                <a:cubicBezTo>
                  <a:pt x="342222" y="550992"/>
                  <a:pt x="337411" y="548148"/>
                  <a:pt x="332189" y="546133"/>
                </a:cubicBezTo>
                <a:cubicBezTo>
                  <a:pt x="325803" y="543710"/>
                  <a:pt x="320180" y="540198"/>
                  <a:pt x="314904" y="536086"/>
                </a:cubicBezTo>
                <a:cubicBezTo>
                  <a:pt x="312191" y="533987"/>
                  <a:pt x="310175" y="531025"/>
                  <a:pt x="307175" y="527695"/>
                </a:cubicBezTo>
                <a:cubicBezTo>
                  <a:pt x="304278" y="528219"/>
                  <a:pt x="300762" y="527855"/>
                  <a:pt x="297264" y="525502"/>
                </a:cubicBezTo>
                <a:cubicBezTo>
                  <a:pt x="283387" y="515892"/>
                  <a:pt x="269258" y="506602"/>
                  <a:pt x="255186" y="497212"/>
                </a:cubicBezTo>
                <a:cubicBezTo>
                  <a:pt x="246102" y="491169"/>
                  <a:pt x="236968" y="485096"/>
                  <a:pt x="227826" y="479152"/>
                </a:cubicBezTo>
                <a:cubicBezTo>
                  <a:pt x="213619" y="469883"/>
                  <a:pt x="199403" y="460744"/>
                  <a:pt x="185166" y="451525"/>
                </a:cubicBezTo>
                <a:cubicBezTo>
                  <a:pt x="170330" y="441961"/>
                  <a:pt x="155546" y="432425"/>
                  <a:pt x="140710" y="422861"/>
                </a:cubicBezTo>
                <a:cubicBezTo>
                  <a:pt x="126494" y="413722"/>
                  <a:pt x="112229" y="404553"/>
                  <a:pt x="97956" y="395513"/>
                </a:cubicBezTo>
                <a:cubicBezTo>
                  <a:pt x="85421" y="387610"/>
                  <a:pt x="72734" y="380085"/>
                  <a:pt x="60286" y="372034"/>
                </a:cubicBezTo>
                <a:cubicBezTo>
                  <a:pt x="52932" y="367254"/>
                  <a:pt x="45897" y="361927"/>
                  <a:pt x="38795" y="356828"/>
                </a:cubicBezTo>
                <a:cubicBezTo>
                  <a:pt x="29963" y="350463"/>
                  <a:pt x="21109" y="344020"/>
                  <a:pt x="12334" y="337555"/>
                </a:cubicBezTo>
                <a:cubicBezTo>
                  <a:pt x="8132" y="334463"/>
                  <a:pt x="3995" y="331142"/>
                  <a:pt x="0" y="328036"/>
                </a:cubicBezTo>
                <a:cubicBezTo>
                  <a:pt x="927" y="324242"/>
                  <a:pt x="3820" y="324647"/>
                  <a:pt x="5940" y="323740"/>
                </a:cubicBezTo>
                <a:cubicBezTo>
                  <a:pt x="9837" y="322061"/>
                  <a:pt x="10455" y="319954"/>
                  <a:pt x="7935" y="316367"/>
                </a:cubicBezTo>
                <a:cubicBezTo>
                  <a:pt x="6721" y="314667"/>
                  <a:pt x="5292" y="313110"/>
                  <a:pt x="3579" y="311121"/>
                </a:cubicBezTo>
                <a:lnTo>
                  <a:pt x="12086" y="296387"/>
                </a:lnTo>
                <a:cubicBezTo>
                  <a:pt x="7757" y="291556"/>
                  <a:pt x="8590" y="285044"/>
                  <a:pt x="5541" y="279953"/>
                </a:cubicBezTo>
                <a:cubicBezTo>
                  <a:pt x="5023" y="279122"/>
                  <a:pt x="4494" y="277618"/>
                  <a:pt x="4941" y="277076"/>
                </a:cubicBezTo>
                <a:cubicBezTo>
                  <a:pt x="8488" y="272198"/>
                  <a:pt x="5230" y="267586"/>
                  <a:pt x="4588" y="262821"/>
                </a:cubicBezTo>
                <a:cubicBezTo>
                  <a:pt x="4383" y="261103"/>
                  <a:pt x="4098" y="259408"/>
                  <a:pt x="3779" y="257425"/>
                </a:cubicBezTo>
                <a:cubicBezTo>
                  <a:pt x="6611" y="257129"/>
                  <a:pt x="9028" y="256859"/>
                  <a:pt x="11861" y="256563"/>
                </a:cubicBezTo>
                <a:cubicBezTo>
                  <a:pt x="13056" y="254723"/>
                  <a:pt x="14367" y="252682"/>
                  <a:pt x="15959" y="250271"/>
                </a:cubicBezTo>
                <a:cubicBezTo>
                  <a:pt x="24538" y="252694"/>
                  <a:pt x="33169" y="255146"/>
                  <a:pt x="41720" y="257619"/>
                </a:cubicBezTo>
                <a:cubicBezTo>
                  <a:pt x="44388" y="250234"/>
                  <a:pt x="44291" y="249247"/>
                  <a:pt x="39651" y="245302"/>
                </a:cubicBezTo>
                <a:cubicBezTo>
                  <a:pt x="31593" y="238518"/>
                  <a:pt x="23427" y="231806"/>
                  <a:pt x="15731" y="225431"/>
                </a:cubicBezTo>
                <a:cubicBezTo>
                  <a:pt x="15014" y="221487"/>
                  <a:pt x="15004" y="217819"/>
                  <a:pt x="13639" y="214766"/>
                </a:cubicBezTo>
                <a:cubicBezTo>
                  <a:pt x="12479" y="212166"/>
                  <a:pt x="9808" y="210223"/>
                  <a:pt x="7754" y="207906"/>
                </a:cubicBezTo>
                <a:cubicBezTo>
                  <a:pt x="8909" y="207174"/>
                  <a:pt x="9519" y="206460"/>
                  <a:pt x="9976" y="206591"/>
                </a:cubicBezTo>
                <a:cubicBezTo>
                  <a:pt x="12675" y="207217"/>
                  <a:pt x="15307" y="208536"/>
                  <a:pt x="18082" y="206609"/>
                </a:cubicBezTo>
                <a:cubicBezTo>
                  <a:pt x="21454" y="204227"/>
                  <a:pt x="23444" y="200780"/>
                  <a:pt x="24063" y="196942"/>
                </a:cubicBezTo>
                <a:cubicBezTo>
                  <a:pt x="24601" y="193590"/>
                  <a:pt x="25015" y="189300"/>
                  <a:pt x="23413" y="186776"/>
                </a:cubicBezTo>
                <a:cubicBezTo>
                  <a:pt x="20369" y="182022"/>
                  <a:pt x="22162" y="177995"/>
                  <a:pt x="23248" y="173694"/>
                </a:cubicBezTo>
                <a:cubicBezTo>
                  <a:pt x="23445" y="173009"/>
                  <a:pt x="23791" y="172409"/>
                  <a:pt x="24094" y="171652"/>
                </a:cubicBezTo>
                <a:cubicBezTo>
                  <a:pt x="30720" y="168818"/>
                  <a:pt x="34046" y="162480"/>
                  <a:pt x="38390" y="157263"/>
                </a:cubicBezTo>
                <a:cubicBezTo>
                  <a:pt x="38726" y="157257"/>
                  <a:pt x="39198" y="157129"/>
                  <a:pt x="39448" y="157273"/>
                </a:cubicBezTo>
                <a:cubicBezTo>
                  <a:pt x="44792" y="160692"/>
                  <a:pt x="49782" y="164839"/>
                  <a:pt x="55546" y="167301"/>
                </a:cubicBezTo>
                <a:cubicBezTo>
                  <a:pt x="61331" y="169841"/>
                  <a:pt x="67398" y="171547"/>
                  <a:pt x="72525" y="175571"/>
                </a:cubicBezTo>
                <a:cubicBezTo>
                  <a:pt x="74127" y="176830"/>
                  <a:pt x="76349" y="177246"/>
                  <a:pt x="78252" y="178212"/>
                </a:cubicBezTo>
                <a:cubicBezTo>
                  <a:pt x="81382" y="179820"/>
                  <a:pt x="84570" y="181327"/>
                  <a:pt x="87556" y="183185"/>
                </a:cubicBezTo>
                <a:cubicBezTo>
                  <a:pt x="97462" y="189303"/>
                  <a:pt x="107260" y="195492"/>
                  <a:pt x="117942" y="200728"/>
                </a:cubicBezTo>
                <a:cubicBezTo>
                  <a:pt x="117068" y="199823"/>
                  <a:pt x="116301" y="198847"/>
                  <a:pt x="115318" y="198013"/>
                </a:cubicBezTo>
                <a:cubicBezTo>
                  <a:pt x="111680" y="194981"/>
                  <a:pt x="111630" y="194952"/>
                  <a:pt x="112574" y="189170"/>
                </a:cubicBezTo>
                <a:cubicBezTo>
                  <a:pt x="109882" y="187150"/>
                  <a:pt x="107069" y="184992"/>
                  <a:pt x="104106" y="182749"/>
                </a:cubicBezTo>
                <a:cubicBezTo>
                  <a:pt x="104175" y="180325"/>
                  <a:pt x="104137" y="177972"/>
                  <a:pt x="104183" y="175934"/>
                </a:cubicBezTo>
                <a:cubicBezTo>
                  <a:pt x="90612" y="165102"/>
                  <a:pt x="77439" y="154499"/>
                  <a:pt x="64018" y="143754"/>
                </a:cubicBezTo>
                <a:cubicBezTo>
                  <a:pt x="64296" y="140851"/>
                  <a:pt x="64589" y="138156"/>
                  <a:pt x="64881" y="135461"/>
                </a:cubicBezTo>
                <a:lnTo>
                  <a:pt x="64904" y="135075"/>
                </a:lnTo>
                <a:cubicBezTo>
                  <a:pt x="63528" y="133081"/>
                  <a:pt x="62171" y="131166"/>
                  <a:pt x="60795" y="129173"/>
                </a:cubicBezTo>
                <a:cubicBezTo>
                  <a:pt x="61813" y="128561"/>
                  <a:pt x="62424" y="127849"/>
                  <a:pt x="62831" y="127950"/>
                </a:cubicBezTo>
                <a:cubicBezTo>
                  <a:pt x="66864" y="129147"/>
                  <a:pt x="70838" y="130443"/>
                  <a:pt x="75349" y="131847"/>
                </a:cubicBezTo>
                <a:cubicBezTo>
                  <a:pt x="76958" y="130446"/>
                  <a:pt x="78731" y="128872"/>
                  <a:pt x="80856" y="127035"/>
                </a:cubicBezTo>
                <a:cubicBezTo>
                  <a:pt x="81861" y="127482"/>
                  <a:pt x="83261" y="127824"/>
                  <a:pt x="84322" y="128636"/>
                </a:cubicBezTo>
                <a:cubicBezTo>
                  <a:pt x="93746" y="135476"/>
                  <a:pt x="103140" y="142365"/>
                  <a:pt x="112535" y="149254"/>
                </a:cubicBezTo>
                <a:cubicBezTo>
                  <a:pt x="113945" y="150268"/>
                  <a:pt x="115376" y="151361"/>
                  <a:pt x="116952" y="152204"/>
                </a:cubicBezTo>
                <a:cubicBezTo>
                  <a:pt x="119404" y="153487"/>
                  <a:pt x="121774" y="152723"/>
                  <a:pt x="123926" y="151302"/>
                </a:cubicBezTo>
                <a:cubicBezTo>
                  <a:pt x="126155" y="149858"/>
                  <a:pt x="126715" y="146586"/>
                  <a:pt x="124721" y="144968"/>
                </a:cubicBezTo>
                <a:cubicBezTo>
                  <a:pt x="120664" y="141627"/>
                  <a:pt x="116361" y="138476"/>
                  <a:pt x="112167" y="135256"/>
                </a:cubicBezTo>
                <a:cubicBezTo>
                  <a:pt x="110515" y="133969"/>
                  <a:pt x="108569" y="132846"/>
                  <a:pt x="109551" y="129416"/>
                </a:cubicBezTo>
                <a:cubicBezTo>
                  <a:pt x="113290" y="130776"/>
                  <a:pt x="117001" y="132185"/>
                  <a:pt x="121624" y="133856"/>
                </a:cubicBezTo>
                <a:cubicBezTo>
                  <a:pt x="121425" y="130744"/>
                  <a:pt x="121294" y="128205"/>
                  <a:pt x="121039" y="124728"/>
                </a:cubicBezTo>
                <a:cubicBezTo>
                  <a:pt x="126266" y="127545"/>
                  <a:pt x="130763" y="130009"/>
                  <a:pt x="135340" y="132452"/>
                </a:cubicBezTo>
                <a:cubicBezTo>
                  <a:pt x="139080" y="129549"/>
                  <a:pt x="137097" y="125607"/>
                  <a:pt x="138090" y="122850"/>
                </a:cubicBezTo>
                <a:cubicBezTo>
                  <a:pt x="136940" y="118389"/>
                  <a:pt x="130910" y="117772"/>
                  <a:pt x="130624" y="111814"/>
                </a:cubicBezTo>
                <a:cubicBezTo>
                  <a:pt x="137648" y="113937"/>
                  <a:pt x="143973" y="115657"/>
                  <a:pt x="149480" y="119370"/>
                </a:cubicBezTo>
                <a:cubicBezTo>
                  <a:pt x="164122" y="129155"/>
                  <a:pt x="178726" y="139119"/>
                  <a:pt x="193368" y="148904"/>
                </a:cubicBezTo>
                <a:cubicBezTo>
                  <a:pt x="205379" y="156904"/>
                  <a:pt x="217558" y="164735"/>
                  <a:pt x="229735" y="172564"/>
                </a:cubicBezTo>
                <a:cubicBezTo>
                  <a:pt x="231972" y="173990"/>
                  <a:pt x="234549" y="174944"/>
                  <a:pt x="237058" y="176127"/>
                </a:cubicBezTo>
                <a:cubicBezTo>
                  <a:pt x="238366" y="173285"/>
                  <a:pt x="236327" y="172440"/>
                  <a:pt x="235116" y="171542"/>
                </a:cubicBezTo>
                <a:cubicBezTo>
                  <a:pt x="224610" y="163812"/>
                  <a:pt x="214047" y="156181"/>
                  <a:pt x="203492" y="148422"/>
                </a:cubicBezTo>
                <a:cubicBezTo>
                  <a:pt x="189304" y="137966"/>
                  <a:pt x="175173" y="127411"/>
                  <a:pt x="161015" y="116905"/>
                </a:cubicBezTo>
                <a:cubicBezTo>
                  <a:pt x="154840" y="112275"/>
                  <a:pt x="148291" y="108293"/>
                  <a:pt x="143626" y="101738"/>
                </a:cubicBezTo>
                <a:cubicBezTo>
                  <a:pt x="140865" y="97879"/>
                  <a:pt x="136109" y="95400"/>
                  <a:pt x="132322" y="92281"/>
                </a:cubicBezTo>
                <a:cubicBezTo>
                  <a:pt x="130478" y="90750"/>
                  <a:pt x="128634" y="89220"/>
                  <a:pt x="126570" y="87494"/>
                </a:cubicBezTo>
                <a:cubicBezTo>
                  <a:pt x="128345" y="84190"/>
                  <a:pt x="131694" y="84725"/>
                  <a:pt x="133895" y="83333"/>
                </a:cubicBezTo>
                <a:cubicBezTo>
                  <a:pt x="135940" y="81982"/>
                  <a:pt x="138246" y="80982"/>
                  <a:pt x="140453" y="79926"/>
                </a:cubicBezTo>
                <a:cubicBezTo>
                  <a:pt x="141728" y="79330"/>
                  <a:pt x="143116" y="78999"/>
                  <a:pt x="144392" y="78404"/>
                </a:cubicBezTo>
                <a:cubicBezTo>
                  <a:pt x="150703" y="75654"/>
                  <a:pt x="151911" y="72755"/>
                  <a:pt x="149673" y="65801"/>
                </a:cubicBezTo>
                <a:cubicBezTo>
                  <a:pt x="149370" y="64828"/>
                  <a:pt x="148831" y="63917"/>
                  <a:pt x="148421" y="63014"/>
                </a:cubicBezTo>
                <a:cubicBezTo>
                  <a:pt x="152767" y="58331"/>
                  <a:pt x="156312" y="50810"/>
                  <a:pt x="159053" y="40449"/>
                </a:cubicBezTo>
                <a:cubicBezTo>
                  <a:pt x="155638" y="35879"/>
                  <a:pt x="149647" y="31622"/>
                  <a:pt x="155225" y="23920"/>
                </a:cubicBezTo>
                <a:cubicBezTo>
                  <a:pt x="159821" y="26906"/>
                  <a:pt x="164388" y="29942"/>
                  <a:pt x="169033" y="32958"/>
                </a:cubicBezTo>
                <a:cubicBezTo>
                  <a:pt x="172560" y="35261"/>
                  <a:pt x="175852" y="37626"/>
                  <a:pt x="180674" y="36880"/>
                </a:cubicBezTo>
                <a:cubicBezTo>
                  <a:pt x="182655" y="36559"/>
                  <a:pt x="185262" y="38265"/>
                  <a:pt x="187271" y="39625"/>
                </a:cubicBezTo>
                <a:cubicBezTo>
                  <a:pt x="209964" y="54591"/>
                  <a:pt x="232493" y="69729"/>
                  <a:pt x="255272" y="84546"/>
                </a:cubicBezTo>
                <a:cubicBezTo>
                  <a:pt x="264115" y="90317"/>
                  <a:pt x="273576" y="95246"/>
                  <a:pt x="282679" y="100568"/>
                </a:cubicBezTo>
                <a:cubicBezTo>
                  <a:pt x="285173" y="102008"/>
                  <a:pt x="287655" y="103242"/>
                  <a:pt x="291371" y="101991"/>
                </a:cubicBezTo>
                <a:cubicBezTo>
                  <a:pt x="290157" y="100290"/>
                  <a:pt x="289423" y="98335"/>
                  <a:pt x="287962" y="97292"/>
                </a:cubicBezTo>
                <a:cubicBezTo>
                  <a:pt x="280570" y="91891"/>
                  <a:pt x="273039" y="86612"/>
                  <a:pt x="265453" y="81433"/>
                </a:cubicBezTo>
                <a:cubicBezTo>
                  <a:pt x="255885" y="74843"/>
                  <a:pt x="246202" y="68454"/>
                  <a:pt x="236677" y="62021"/>
                </a:cubicBezTo>
                <a:cubicBezTo>
                  <a:pt x="236625" y="59461"/>
                  <a:pt x="236592" y="57443"/>
                  <a:pt x="236545" y="55219"/>
                </a:cubicBezTo>
                <a:cubicBezTo>
                  <a:pt x="230029" y="51989"/>
                  <a:pt x="226235" y="45537"/>
                  <a:pt x="220093" y="41658"/>
                </a:cubicBezTo>
                <a:cubicBezTo>
                  <a:pt x="213580" y="37498"/>
                  <a:pt x="207694" y="32368"/>
                  <a:pt x="201527" y="27609"/>
                </a:cubicBezTo>
                <a:cubicBezTo>
                  <a:pt x="195681" y="23101"/>
                  <a:pt x="189813" y="18514"/>
                  <a:pt x="184116" y="14094"/>
                </a:cubicBezTo>
                <a:cubicBezTo>
                  <a:pt x="183782" y="9372"/>
                  <a:pt x="183404" y="4957"/>
                  <a:pt x="183006" y="0"/>
                </a:cubicBezTo>
                <a:close/>
              </a:path>
            </a:pathLst>
          </a:custGeom>
          <a:solidFill>
            <a:schemeClr val="accent3"/>
          </a:solidFill>
        </p:spPr>
        <p:txBody>
          <a:bodyPr wrap="square">
            <a:noAutofit/>
          </a:bodyPr>
          <a:lstStyle>
            <a:lvl1pPr marL="0" indent="0">
              <a:buNone/>
              <a:defRPr>
                <a:noFill/>
              </a:defRPr>
            </a:lvl1pPr>
          </a:lstStyle>
          <a:p>
            <a:pPr lvl="0"/>
            <a:endParaRPr lang="de-DE" dirty="0"/>
          </a:p>
        </p:txBody>
      </p:sp>
      <p:sp>
        <p:nvSpPr>
          <p:cNvPr id="16" name="Textplatzhalter 17">
            <a:extLst>
              <a:ext uri="{FF2B5EF4-FFF2-40B4-BE49-F238E27FC236}">
                <a16:creationId xmlns:a16="http://schemas.microsoft.com/office/drawing/2014/main" id="{57C0EC8B-E822-1517-51D8-948117EE4B61}"/>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20" name="Textplatzhalter 19">
            <a:extLst>
              <a:ext uri="{FF2B5EF4-FFF2-40B4-BE49-F238E27FC236}">
                <a16:creationId xmlns:a16="http://schemas.microsoft.com/office/drawing/2014/main" id="{06742E17-7A10-78DA-877D-83EE31E725DC}"/>
              </a:ext>
            </a:extLst>
          </p:cNvPr>
          <p:cNvSpPr>
            <a:spLocks noGrp="1"/>
          </p:cNvSpPr>
          <p:nvPr>
            <p:ph type="body" sz="quarter" idx="14"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3"/>
                </a:solidFill>
                <a:latin typeface="+mn-lt"/>
              </a:defRPr>
            </a:lvl1pPr>
          </a:lstStyle>
          <a:p>
            <a:pPr lvl="0"/>
            <a:r>
              <a:rPr lang="de-DE" dirty="0"/>
              <a:t>Überschrift</a:t>
            </a:r>
          </a:p>
        </p:txBody>
      </p:sp>
      <p:sp>
        <p:nvSpPr>
          <p:cNvPr id="3" name="Foliennummernplatzhalter 5">
            <a:extLst>
              <a:ext uri="{FF2B5EF4-FFF2-40B4-BE49-F238E27FC236}">
                <a16:creationId xmlns:a16="http://schemas.microsoft.com/office/drawing/2014/main" id="{2A73E047-9E09-B0CA-78A5-C512954B65CA}"/>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902671886"/>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 Inhalt">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5CA0395D-FBEB-6865-2E0A-E2E2B89D3B2B}"/>
              </a:ext>
            </a:extLst>
          </p:cNvPr>
          <p:cNvSpPr>
            <a:spLocks noGrp="1" noRot="1" noMove="1" noResize="1" noEditPoints="1" noAdjustHandles="1" noChangeArrowheads="1" noChangeShapeType="1"/>
          </p:cNvSpPr>
          <p:nvPr>
            <p:ph type="body" sz="quarter" idx="13" hasCustomPrompt="1"/>
          </p:nvPr>
        </p:nvSpPr>
        <p:spPr>
          <a:xfrm>
            <a:off x="560514" y="1671122"/>
            <a:ext cx="11080624" cy="4637603"/>
          </a:xfrm>
          <a:prstGeom prst="roundRect">
            <a:avLst>
              <a:gd name="adj" fmla="val 3275"/>
            </a:avLst>
          </a:prstGeom>
          <a:solidFill>
            <a:schemeClr val="bg1">
              <a:lumMod val="95000"/>
            </a:schemeClr>
          </a:solidFill>
        </p:spPr>
        <p:txBody>
          <a:bodyPr lIns="360000" tIns="360000" rIns="360000" bIns="360000"/>
          <a:lstStyle>
            <a:lvl1pPr marL="270000" indent="-270000">
              <a:lnSpc>
                <a:spcPct val="110000"/>
              </a:lnSpc>
              <a:spcBef>
                <a:spcPts val="1500"/>
              </a:spcBef>
              <a:buClr>
                <a:schemeClr val="accent3"/>
              </a:buClr>
              <a:defRPr sz="2000">
                <a:solidFill>
                  <a:schemeClr val="tx1">
                    <a:lumMod val="75000"/>
                    <a:lumOff val="25000"/>
                  </a:schemeClr>
                </a:solidFill>
              </a:defRPr>
            </a:lvl1pPr>
            <a:lvl2pPr marL="540000" indent="-270000">
              <a:lnSpc>
                <a:spcPct val="110000"/>
              </a:lnSpc>
              <a:spcBef>
                <a:spcPts val="1500"/>
              </a:spcBef>
              <a:buClr>
                <a:schemeClr val="accent3"/>
              </a:buClr>
              <a:defRPr sz="2000">
                <a:solidFill>
                  <a:schemeClr val="tx1">
                    <a:lumMod val="75000"/>
                    <a:lumOff val="25000"/>
                  </a:schemeClr>
                </a:solidFill>
              </a:defRPr>
            </a:lvl2pPr>
            <a:lvl3pPr marL="810000" indent="-270000">
              <a:lnSpc>
                <a:spcPct val="110000"/>
              </a:lnSpc>
              <a:spcBef>
                <a:spcPts val="1500"/>
              </a:spcBef>
              <a:buClr>
                <a:schemeClr val="accent3"/>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21" name="Textplatzhalter 20">
            <a:extLst>
              <a:ext uri="{FF2B5EF4-FFF2-40B4-BE49-F238E27FC236}">
                <a16:creationId xmlns:a16="http://schemas.microsoft.com/office/drawing/2014/main" id="{E24A18A5-9EB9-4E37-04FB-95312AA87947}"/>
              </a:ext>
            </a:extLst>
          </p:cNvPr>
          <p:cNvSpPr>
            <a:spLocks noGrp="1" noRot="1" noMove="1" noResize="1" noEditPoints="1" noAdjustHandles="1" noChangeArrowheads="1" noChangeShapeType="1"/>
          </p:cNvSpPr>
          <p:nvPr>
            <p:ph type="body" sz="quarter" idx="14"/>
          </p:nvPr>
        </p:nvSpPr>
        <p:spPr>
          <a:xfrm>
            <a:off x="6626640" y="4415461"/>
            <a:ext cx="586093" cy="124041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3"/>
          </a:solidFill>
        </p:spPr>
        <p:txBody>
          <a:bodyPr wrap="square" lIns="0" tIns="0" rIns="0" bIns="0">
            <a:noAutofit/>
          </a:bodyPr>
          <a:lstStyle>
            <a:lvl1pPr marL="0" indent="0">
              <a:buNone/>
              <a:defRPr>
                <a:noFill/>
              </a:defRPr>
            </a:lvl1pPr>
          </a:lstStyle>
          <a:p>
            <a:pPr lvl="0"/>
            <a:endParaRPr lang="de-DE" dirty="0"/>
          </a:p>
        </p:txBody>
      </p:sp>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3"/>
                </a:solidFill>
                <a:latin typeface="+mn-lt"/>
              </a:defRPr>
            </a:lvl1pPr>
          </a:lstStyle>
          <a:p>
            <a:pPr lvl="0"/>
            <a:r>
              <a:rPr lang="de-DE" dirty="0"/>
              <a:t>Überschrift</a:t>
            </a:r>
          </a:p>
        </p:txBody>
      </p:sp>
      <p:sp>
        <p:nvSpPr>
          <p:cNvPr id="23" name="Textplatzhalter 22">
            <a:extLst>
              <a:ext uri="{FF2B5EF4-FFF2-40B4-BE49-F238E27FC236}">
                <a16:creationId xmlns:a16="http://schemas.microsoft.com/office/drawing/2014/main" id="{4743DD00-6541-6407-C31D-05E65F9B658E}"/>
              </a:ext>
            </a:extLst>
          </p:cNvPr>
          <p:cNvSpPr>
            <a:spLocks noGrp="1" noRot="1" noChangeAspect="1" noMove="1" noResize="1" noEditPoints="1" noAdjustHandles="1" noChangeArrowheads="1" noChangeShapeType="1"/>
          </p:cNvSpPr>
          <p:nvPr>
            <p:ph type="body" sz="quarter" idx="15"/>
          </p:nvPr>
        </p:nvSpPr>
        <p:spPr>
          <a:xfrm>
            <a:off x="7231254" y="5141071"/>
            <a:ext cx="381024" cy="80640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3">
              <a:lumMod val="40000"/>
              <a:lumOff val="60000"/>
            </a:schemeClr>
          </a:solidFill>
        </p:spPr>
        <p:txBody>
          <a:bodyPr wrap="square" lIns="0" tIns="0" rIns="0" bIns="0">
            <a:noAutofit/>
          </a:bodyPr>
          <a:lstStyle>
            <a:lvl1pPr marL="0" indent="0">
              <a:buNone/>
              <a:defRPr>
                <a:noFill/>
              </a:defRPr>
            </a:lvl1pPr>
          </a:lstStyle>
          <a:p>
            <a:pPr lvl="0"/>
            <a:endParaRPr lang="de-DE" dirty="0"/>
          </a:p>
        </p:txBody>
      </p:sp>
      <p:sp>
        <p:nvSpPr>
          <p:cNvPr id="2" name="Foliennummernplatzhalter 5">
            <a:extLst>
              <a:ext uri="{FF2B5EF4-FFF2-40B4-BE49-F238E27FC236}">
                <a16:creationId xmlns:a16="http://schemas.microsoft.com/office/drawing/2014/main" id="{AA59CBB0-AB77-C0F6-C598-448B081F9376}"/>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376345849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oleObject" Target="../embeddings/oleObject2.bin"/><Relationship Id="rId5" Type="http://schemas.openxmlformats.org/officeDocument/2006/relationships/tags" Target="../tags/tag3.xml"/><Relationship Id="rId4"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theme" Target="../theme/theme3.xml"/><Relationship Id="rId18" Type="http://schemas.openxmlformats.org/officeDocument/2006/relationships/image" Target="../media/image5.png"/><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image" Target="../media/image1.emf"/><Relationship Id="rId2" Type="http://schemas.openxmlformats.org/officeDocument/2006/relationships/slideLayout" Target="../slideLayouts/slideLayout6.xml"/><Relationship Id="rId16" Type="http://schemas.openxmlformats.org/officeDocument/2006/relationships/oleObject" Target="../embeddings/oleObject3.bin"/><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5" Type="http://schemas.openxmlformats.org/officeDocument/2006/relationships/tags" Target="../tags/tag4.xml"/><Relationship Id="rId10" Type="http://schemas.openxmlformats.org/officeDocument/2006/relationships/slideLayout" Target="../slideLayouts/slideLayout14.xml"/><Relationship Id="rId19" Type="http://schemas.openxmlformats.org/officeDocument/2006/relationships/image" Target="../media/image9.svg"/><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vmlDrawing" Target="../drawings/vmlDrawing3.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5F35E97-6790-C9F0-FE9F-A0B71FE73118}"/>
              </a:ext>
            </a:extLst>
          </p:cNvPr>
          <p:cNvGraphicFramePr>
            <a:graphicFrameLocks noChangeAspect="1"/>
          </p:cNvGraphicFramePr>
          <p:nvPr userDrawn="1">
            <p:custDataLst>
              <p:tags r:id="rId5"/>
            </p:custDataLst>
            <p:extLst>
              <p:ext uri="{D42A27DB-BD31-4B8C-83A1-F6EECF244321}">
                <p14:modId xmlns:p14="http://schemas.microsoft.com/office/powerpoint/2010/main" val="1792720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46" name="think-cell Folie" r:id="rId6" imgW="7772400" imgH="10058400" progId="TCLayout.ActiveDocument.1">
                  <p:embed/>
                </p:oleObj>
              </mc:Choice>
              <mc:Fallback>
                <p:oleObj name="think-cell Folie" r:id="rId6" imgW="7772400" imgH="10058400" progId="TCLayout.ActiveDocument.1">
                  <p:embed/>
                  <p:pic>
                    <p:nvPicPr>
                      <p:cNvPr id="2" name="think-cell data - do not delete" hidden="1">
                        <a:extLst>
                          <a:ext uri="{FF2B5EF4-FFF2-40B4-BE49-F238E27FC236}">
                            <a16:creationId xmlns:a16="http://schemas.microsoft.com/office/drawing/2014/main" id="{65F35E97-6790-C9F0-FE9F-A0B71FE73118}"/>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31" name="Freihandform: Form 30">
            <a:extLst>
              <a:ext uri="{FF2B5EF4-FFF2-40B4-BE49-F238E27FC236}">
                <a16:creationId xmlns:a16="http://schemas.microsoft.com/office/drawing/2014/main" id="{5BBA8670-0916-D577-E13B-70895FC6AFAB}"/>
              </a:ext>
            </a:extLst>
          </p:cNvPr>
          <p:cNvSpPr/>
          <p:nvPr userDrawn="1"/>
        </p:nvSpPr>
        <p:spPr>
          <a:xfrm>
            <a:off x="1" y="0"/>
            <a:ext cx="12192000" cy="3429001"/>
          </a:xfrm>
          <a:custGeom>
            <a:avLst/>
            <a:gdLst>
              <a:gd name="connsiteX0" fmla="*/ 7386332 w 12192000"/>
              <a:gd name="connsiteY0" fmla="*/ 3395950 h 3429001"/>
              <a:gd name="connsiteX1" fmla="*/ 7410712 w 12192000"/>
              <a:gd name="connsiteY1" fmla="*/ 3409318 h 3429001"/>
              <a:gd name="connsiteX2" fmla="*/ 7398129 w 12192000"/>
              <a:gd name="connsiteY2" fmla="*/ 3421115 h 3429001"/>
              <a:gd name="connsiteX3" fmla="*/ 7372964 w 12192000"/>
              <a:gd name="connsiteY3" fmla="*/ 3409318 h 3429001"/>
              <a:gd name="connsiteX4" fmla="*/ 7386332 w 12192000"/>
              <a:gd name="connsiteY4" fmla="*/ 3395950 h 3429001"/>
              <a:gd name="connsiteX5" fmla="*/ 8341053 w 12192000"/>
              <a:gd name="connsiteY5" fmla="*/ 3358202 h 3429001"/>
              <a:gd name="connsiteX6" fmla="*/ 8354422 w 12192000"/>
              <a:gd name="connsiteY6" fmla="*/ 3371572 h 3429001"/>
              <a:gd name="connsiteX7" fmla="*/ 8329256 w 12192000"/>
              <a:gd name="connsiteY7" fmla="*/ 3383366 h 3429001"/>
              <a:gd name="connsiteX8" fmla="*/ 8316673 w 12192000"/>
              <a:gd name="connsiteY8" fmla="*/ 3371572 h 3429001"/>
              <a:gd name="connsiteX9" fmla="*/ 8341053 w 12192000"/>
              <a:gd name="connsiteY9" fmla="*/ 3358202 h 3429001"/>
              <a:gd name="connsiteX10" fmla="*/ 6232646 w 12192000"/>
              <a:gd name="connsiteY10" fmla="*/ 1881295 h 3429001"/>
              <a:gd name="connsiteX11" fmla="*/ 6293201 w 12192000"/>
              <a:gd name="connsiteY11" fmla="*/ 1929266 h 3429001"/>
              <a:gd name="connsiteX12" fmla="*/ 6133556 w 12192000"/>
              <a:gd name="connsiteY12" fmla="*/ 1941062 h 3429001"/>
              <a:gd name="connsiteX13" fmla="*/ 6232646 w 12192000"/>
              <a:gd name="connsiteY13" fmla="*/ 1881295 h 3429001"/>
              <a:gd name="connsiteX14" fmla="*/ 7618328 w 12192000"/>
              <a:gd name="connsiteY14" fmla="*/ 1729513 h 3429001"/>
              <a:gd name="connsiteX15" fmla="*/ 7630124 w 12192000"/>
              <a:gd name="connsiteY15" fmla="*/ 1742097 h 3429001"/>
              <a:gd name="connsiteX16" fmla="*/ 7618328 w 12192000"/>
              <a:gd name="connsiteY16" fmla="*/ 1767263 h 3429001"/>
              <a:gd name="connsiteX17" fmla="*/ 7604959 w 12192000"/>
              <a:gd name="connsiteY17" fmla="*/ 1753893 h 3429001"/>
              <a:gd name="connsiteX18" fmla="*/ 7618328 w 12192000"/>
              <a:gd name="connsiteY18" fmla="*/ 1729513 h 3429001"/>
              <a:gd name="connsiteX19" fmla="*/ 7444625 w 12192000"/>
              <a:gd name="connsiteY19" fmla="*/ 1727056 h 3429001"/>
              <a:gd name="connsiteX20" fmla="*/ 7487782 w 12192000"/>
              <a:gd name="connsiteY20" fmla="*/ 1747603 h 3429001"/>
              <a:gd name="connsiteX21" fmla="*/ 7413857 w 12192000"/>
              <a:gd name="connsiteY21" fmla="*/ 1757825 h 3429001"/>
              <a:gd name="connsiteX22" fmla="*/ 7444625 w 12192000"/>
              <a:gd name="connsiteY22" fmla="*/ 1727056 h 3429001"/>
              <a:gd name="connsiteX23" fmla="*/ 6093448 w 12192000"/>
              <a:gd name="connsiteY23" fmla="*/ 1195530 h 3429001"/>
              <a:gd name="connsiteX24" fmla="*/ 6093883 w 12192000"/>
              <a:gd name="connsiteY24" fmla="*/ 1195530 h 3429001"/>
              <a:gd name="connsiteX25" fmla="*/ 6093448 w 12192000"/>
              <a:gd name="connsiteY25" fmla="*/ 1196316 h 3429001"/>
              <a:gd name="connsiteX26" fmla="*/ 6093274 w 12192000"/>
              <a:gd name="connsiteY26" fmla="*/ 1196432 h 3429001"/>
              <a:gd name="connsiteX27" fmla="*/ 6463265 w 12192000"/>
              <a:gd name="connsiteY27" fmla="*/ 1127700 h 3429001"/>
              <a:gd name="connsiteX28" fmla="*/ 6496099 w 12192000"/>
              <a:gd name="connsiteY28" fmla="*/ 1137334 h 3429001"/>
              <a:gd name="connsiteX29" fmla="*/ 6433971 w 12192000"/>
              <a:gd name="connsiteY29" fmla="*/ 1149917 h 3429001"/>
              <a:gd name="connsiteX30" fmla="*/ 6463265 w 12192000"/>
              <a:gd name="connsiteY30" fmla="*/ 1127700 h 3429001"/>
              <a:gd name="connsiteX31" fmla="*/ 6252110 w 12192000"/>
              <a:gd name="connsiteY31" fmla="*/ 1081202 h 3429001"/>
              <a:gd name="connsiteX32" fmla="*/ 6314434 w 12192000"/>
              <a:gd name="connsiteY32" fmla="*/ 1092508 h 3429001"/>
              <a:gd name="connsiteX33" fmla="*/ 6327017 w 12192000"/>
              <a:gd name="connsiteY33" fmla="*/ 1143625 h 3429001"/>
              <a:gd name="connsiteX34" fmla="*/ 6240510 w 12192000"/>
              <a:gd name="connsiteY34" fmla="*/ 1195530 h 3429001"/>
              <a:gd name="connsiteX35" fmla="*/ 6093883 w 12192000"/>
              <a:gd name="connsiteY35" fmla="*/ 1195530 h 3429001"/>
              <a:gd name="connsiteX36" fmla="*/ 6111855 w 12192000"/>
              <a:gd name="connsiteY36" fmla="*/ 1163053 h 3429001"/>
              <a:gd name="connsiteX37" fmla="*/ 6188605 w 12192000"/>
              <a:gd name="connsiteY37" fmla="*/ 1084642 h 3429001"/>
              <a:gd name="connsiteX38" fmla="*/ 6252110 w 12192000"/>
              <a:gd name="connsiteY38" fmla="*/ 1081202 h 3429001"/>
              <a:gd name="connsiteX39" fmla="*/ 10298467 w 12192000"/>
              <a:gd name="connsiteY39" fmla="*/ 748052 h 3429001"/>
              <a:gd name="connsiteX40" fmla="*/ 10311837 w 12192000"/>
              <a:gd name="connsiteY40" fmla="*/ 761421 h 3429001"/>
              <a:gd name="connsiteX41" fmla="*/ 10298467 w 12192000"/>
              <a:gd name="connsiteY41" fmla="*/ 785800 h 3429001"/>
              <a:gd name="connsiteX42" fmla="*/ 10286671 w 12192000"/>
              <a:gd name="connsiteY42" fmla="*/ 773217 h 3429001"/>
              <a:gd name="connsiteX43" fmla="*/ 10298467 w 12192000"/>
              <a:gd name="connsiteY43" fmla="*/ 748052 h 3429001"/>
              <a:gd name="connsiteX44" fmla="*/ 9180169 w 12192000"/>
              <a:gd name="connsiteY44" fmla="*/ 740188 h 3429001"/>
              <a:gd name="connsiteX45" fmla="*/ 9179383 w 12192000"/>
              <a:gd name="connsiteY45" fmla="*/ 740974 h 3429001"/>
              <a:gd name="connsiteX46" fmla="*/ 9179360 w 12192000"/>
              <a:gd name="connsiteY46" fmla="*/ 740289 h 3429001"/>
              <a:gd name="connsiteX47" fmla="*/ 9128266 w 12192000"/>
              <a:gd name="connsiteY47" fmla="*/ 711090 h 3429001"/>
              <a:gd name="connsiteX48" fmla="*/ 9178596 w 12192000"/>
              <a:gd name="connsiteY48" fmla="*/ 717381 h 3429001"/>
              <a:gd name="connsiteX49" fmla="*/ 9179360 w 12192000"/>
              <a:gd name="connsiteY49" fmla="*/ 740289 h 3429001"/>
              <a:gd name="connsiteX50" fmla="*/ 9129838 w 12192000"/>
              <a:gd name="connsiteY50" fmla="*/ 746479 h 3429001"/>
              <a:gd name="connsiteX51" fmla="*/ 9116469 w 12192000"/>
              <a:gd name="connsiteY51" fmla="*/ 722887 h 3429001"/>
              <a:gd name="connsiteX52" fmla="*/ 9128266 w 12192000"/>
              <a:gd name="connsiteY52" fmla="*/ 711090 h 3429001"/>
              <a:gd name="connsiteX53" fmla="*/ 9449127 w 12192000"/>
              <a:gd name="connsiteY53" fmla="*/ 709125 h 3429001"/>
              <a:gd name="connsiteX54" fmla="*/ 9486876 w 12192000"/>
              <a:gd name="connsiteY54" fmla="*/ 729178 h 3429001"/>
              <a:gd name="connsiteX55" fmla="*/ 9411379 w 12192000"/>
              <a:gd name="connsiteY55" fmla="*/ 729178 h 3429001"/>
              <a:gd name="connsiteX56" fmla="*/ 9449127 w 12192000"/>
              <a:gd name="connsiteY56" fmla="*/ 709125 h 3429001"/>
              <a:gd name="connsiteX57" fmla="*/ 7775613 w 12192000"/>
              <a:gd name="connsiteY57" fmla="*/ 679633 h 3429001"/>
              <a:gd name="connsiteX58" fmla="*/ 7788196 w 12192000"/>
              <a:gd name="connsiteY58" fmla="*/ 691430 h 3429001"/>
              <a:gd name="connsiteX59" fmla="*/ 7763817 w 12192000"/>
              <a:gd name="connsiteY59" fmla="*/ 704798 h 3429001"/>
              <a:gd name="connsiteX60" fmla="*/ 7750447 w 12192000"/>
              <a:gd name="connsiteY60" fmla="*/ 691430 h 3429001"/>
              <a:gd name="connsiteX61" fmla="*/ 7775613 w 12192000"/>
              <a:gd name="connsiteY61" fmla="*/ 679633 h 3429001"/>
              <a:gd name="connsiteX62" fmla="*/ 8529795 w 12192000"/>
              <a:gd name="connsiteY62" fmla="*/ 678061 h 3429001"/>
              <a:gd name="connsiteX63" fmla="*/ 8543165 w 12192000"/>
              <a:gd name="connsiteY63" fmla="*/ 691430 h 3429001"/>
              <a:gd name="connsiteX64" fmla="*/ 8517999 w 12192000"/>
              <a:gd name="connsiteY64" fmla="*/ 703225 h 3429001"/>
              <a:gd name="connsiteX65" fmla="*/ 8505416 w 12192000"/>
              <a:gd name="connsiteY65" fmla="*/ 691430 h 3429001"/>
              <a:gd name="connsiteX66" fmla="*/ 8529795 w 12192000"/>
              <a:gd name="connsiteY66" fmla="*/ 678061 h 3429001"/>
              <a:gd name="connsiteX67" fmla="*/ 10896937 w 12192000"/>
              <a:gd name="connsiteY67" fmla="*/ 678059 h 3429001"/>
              <a:gd name="connsiteX68" fmla="*/ 10883569 w 12192000"/>
              <a:gd name="connsiteY68" fmla="*/ 691428 h 3429001"/>
              <a:gd name="connsiteX69" fmla="*/ 10908734 w 12192000"/>
              <a:gd name="connsiteY69" fmla="*/ 703224 h 3429001"/>
              <a:gd name="connsiteX70" fmla="*/ 10921317 w 12192000"/>
              <a:gd name="connsiteY70" fmla="*/ 691428 h 3429001"/>
              <a:gd name="connsiteX71" fmla="*/ 10896937 w 12192000"/>
              <a:gd name="connsiteY71" fmla="*/ 678059 h 3429001"/>
              <a:gd name="connsiteX72" fmla="*/ 7693826 w 12192000"/>
              <a:gd name="connsiteY72" fmla="*/ 672556 h 3429001"/>
              <a:gd name="connsiteX73" fmla="*/ 7705621 w 12192000"/>
              <a:gd name="connsiteY73" fmla="*/ 685138 h 3429001"/>
              <a:gd name="connsiteX74" fmla="*/ 7693826 w 12192000"/>
              <a:gd name="connsiteY74" fmla="*/ 710304 h 3429001"/>
              <a:gd name="connsiteX75" fmla="*/ 7680456 w 12192000"/>
              <a:gd name="connsiteY75" fmla="*/ 696934 h 3429001"/>
              <a:gd name="connsiteX76" fmla="*/ 7693826 w 12192000"/>
              <a:gd name="connsiteY76" fmla="*/ 672556 h 3429001"/>
              <a:gd name="connsiteX77" fmla="*/ 8429919 w 12192000"/>
              <a:gd name="connsiteY77" fmla="*/ 671376 h 3429001"/>
              <a:gd name="connsiteX78" fmla="*/ 8467668 w 12192000"/>
              <a:gd name="connsiteY78" fmla="*/ 691430 h 3429001"/>
              <a:gd name="connsiteX79" fmla="*/ 8392171 w 12192000"/>
              <a:gd name="connsiteY79" fmla="*/ 691430 h 3429001"/>
              <a:gd name="connsiteX80" fmla="*/ 8429919 w 12192000"/>
              <a:gd name="connsiteY80" fmla="*/ 671376 h 3429001"/>
              <a:gd name="connsiteX81" fmla="*/ 7523956 w 12192000"/>
              <a:gd name="connsiteY81" fmla="*/ 671376 h 3429001"/>
              <a:gd name="connsiteX82" fmla="*/ 7561705 w 12192000"/>
              <a:gd name="connsiteY82" fmla="*/ 691430 h 3429001"/>
              <a:gd name="connsiteX83" fmla="*/ 7486209 w 12192000"/>
              <a:gd name="connsiteY83" fmla="*/ 691430 h 3429001"/>
              <a:gd name="connsiteX84" fmla="*/ 7523956 w 12192000"/>
              <a:gd name="connsiteY84" fmla="*/ 671376 h 3429001"/>
              <a:gd name="connsiteX85" fmla="*/ 8086350 w 12192000"/>
              <a:gd name="connsiteY85" fmla="*/ 670098 h 3429001"/>
              <a:gd name="connsiteX86" fmla="*/ 8129505 w 12192000"/>
              <a:gd name="connsiteY86" fmla="*/ 690642 h 3429001"/>
              <a:gd name="connsiteX87" fmla="*/ 8055581 w 12192000"/>
              <a:gd name="connsiteY87" fmla="*/ 700866 h 3429001"/>
              <a:gd name="connsiteX88" fmla="*/ 8086350 w 12192000"/>
              <a:gd name="connsiteY88" fmla="*/ 670098 h 3429001"/>
              <a:gd name="connsiteX89" fmla="*/ 8329257 w 12192000"/>
              <a:gd name="connsiteY89" fmla="*/ 566386 h 3429001"/>
              <a:gd name="connsiteX90" fmla="*/ 8316674 w 12192000"/>
              <a:gd name="connsiteY90" fmla="*/ 578183 h 3429001"/>
              <a:gd name="connsiteX91" fmla="*/ 8341054 w 12192000"/>
              <a:gd name="connsiteY91" fmla="*/ 591552 h 3429001"/>
              <a:gd name="connsiteX92" fmla="*/ 8354423 w 12192000"/>
              <a:gd name="connsiteY92" fmla="*/ 578183 h 3429001"/>
              <a:gd name="connsiteX93" fmla="*/ 8329257 w 12192000"/>
              <a:gd name="connsiteY93" fmla="*/ 566386 h 3429001"/>
              <a:gd name="connsiteX94" fmla="*/ 7322632 w 12192000"/>
              <a:gd name="connsiteY94" fmla="*/ 566386 h 3429001"/>
              <a:gd name="connsiteX95" fmla="*/ 7297466 w 12192000"/>
              <a:gd name="connsiteY95" fmla="*/ 578183 h 3429001"/>
              <a:gd name="connsiteX96" fmla="*/ 7310836 w 12192000"/>
              <a:gd name="connsiteY96" fmla="*/ 591552 h 3429001"/>
              <a:gd name="connsiteX97" fmla="*/ 7335215 w 12192000"/>
              <a:gd name="connsiteY97" fmla="*/ 578183 h 3429001"/>
              <a:gd name="connsiteX98" fmla="*/ 7322632 w 12192000"/>
              <a:gd name="connsiteY98" fmla="*/ 566386 h 3429001"/>
              <a:gd name="connsiteX99" fmla="*/ 7510588 w 12192000"/>
              <a:gd name="connsiteY99" fmla="*/ 564813 h 3429001"/>
              <a:gd name="connsiteX100" fmla="*/ 7486209 w 12192000"/>
              <a:gd name="connsiteY100" fmla="*/ 578182 h 3429001"/>
              <a:gd name="connsiteX101" fmla="*/ 7498792 w 12192000"/>
              <a:gd name="connsiteY101" fmla="*/ 589979 h 3429001"/>
              <a:gd name="connsiteX102" fmla="*/ 7523958 w 12192000"/>
              <a:gd name="connsiteY102" fmla="*/ 578182 h 3429001"/>
              <a:gd name="connsiteX103" fmla="*/ 7510588 w 12192000"/>
              <a:gd name="connsiteY103" fmla="*/ 564813 h 3429001"/>
              <a:gd name="connsiteX104" fmla="*/ 8448794 w 12192000"/>
              <a:gd name="connsiteY104" fmla="*/ 559309 h 3429001"/>
              <a:gd name="connsiteX105" fmla="*/ 8436997 w 12192000"/>
              <a:gd name="connsiteY105" fmla="*/ 584474 h 3429001"/>
              <a:gd name="connsiteX106" fmla="*/ 8448794 w 12192000"/>
              <a:gd name="connsiteY106" fmla="*/ 597057 h 3429001"/>
              <a:gd name="connsiteX107" fmla="*/ 8462163 w 12192000"/>
              <a:gd name="connsiteY107" fmla="*/ 572677 h 3429001"/>
              <a:gd name="connsiteX108" fmla="*/ 8448794 w 12192000"/>
              <a:gd name="connsiteY108" fmla="*/ 559309 h 3429001"/>
              <a:gd name="connsiteX109" fmla="*/ 7170066 w 12192000"/>
              <a:gd name="connsiteY109" fmla="*/ 554591 h 3429001"/>
              <a:gd name="connsiteX110" fmla="*/ 7133891 w 12192000"/>
              <a:gd name="connsiteY110" fmla="*/ 590767 h 3429001"/>
              <a:gd name="connsiteX111" fmla="*/ 6957730 w 12192000"/>
              <a:gd name="connsiteY111" fmla="*/ 613573 h 3429001"/>
              <a:gd name="connsiteX112" fmla="*/ 6957730 w 12192000"/>
              <a:gd name="connsiteY112" fmla="*/ 614359 h 3429001"/>
              <a:gd name="connsiteX113" fmla="*/ 6956551 w 12192000"/>
              <a:gd name="connsiteY113" fmla="*/ 627237 h 3429001"/>
              <a:gd name="connsiteX114" fmla="*/ 6957730 w 12192000"/>
              <a:gd name="connsiteY114" fmla="*/ 634806 h 3429001"/>
              <a:gd name="connsiteX115" fmla="*/ 6758764 w 12192000"/>
              <a:gd name="connsiteY115" fmla="*/ 635593 h 3429001"/>
              <a:gd name="connsiteX116" fmla="*/ 6731239 w 12192000"/>
              <a:gd name="connsiteY116" fmla="*/ 672554 h 3429001"/>
              <a:gd name="connsiteX117" fmla="*/ 6637656 w 12192000"/>
              <a:gd name="connsiteY117" fmla="*/ 672554 h 3429001"/>
              <a:gd name="connsiteX118" fmla="*/ 6551149 w 12192000"/>
              <a:gd name="connsiteY118" fmla="*/ 725245 h 3429001"/>
              <a:gd name="connsiteX119" fmla="*/ 6472506 w 12192000"/>
              <a:gd name="connsiteY119" fmla="*/ 780295 h 3429001"/>
              <a:gd name="connsiteX120" fmla="*/ 6528342 w 12192000"/>
              <a:gd name="connsiteY120" fmla="*/ 785013 h 3429001"/>
              <a:gd name="connsiteX121" fmla="*/ 6731239 w 12192000"/>
              <a:gd name="connsiteY121" fmla="*/ 672554 h 3429001"/>
              <a:gd name="connsiteX122" fmla="*/ 6930205 w 12192000"/>
              <a:gd name="connsiteY122" fmla="*/ 671768 h 3429001"/>
              <a:gd name="connsiteX123" fmla="*/ 6952226 w 12192000"/>
              <a:gd name="connsiteY123" fmla="*/ 661250 h 3429001"/>
              <a:gd name="connsiteX124" fmla="*/ 6957730 w 12192000"/>
              <a:gd name="connsiteY124" fmla="*/ 634806 h 3429001"/>
              <a:gd name="connsiteX125" fmla="*/ 6957730 w 12192000"/>
              <a:gd name="connsiteY125" fmla="*/ 634807 h 3429001"/>
              <a:gd name="connsiteX126" fmla="*/ 7016712 w 12192000"/>
              <a:gd name="connsiteY126" fmla="*/ 669409 h 3429001"/>
              <a:gd name="connsiteX127" fmla="*/ 7054461 w 12192000"/>
              <a:gd name="connsiteY127" fmla="*/ 635593 h 3429001"/>
              <a:gd name="connsiteX128" fmla="*/ 7229048 w 12192000"/>
              <a:gd name="connsiteY128" fmla="*/ 624583 h 3429001"/>
              <a:gd name="connsiteX129" fmla="*/ 7170066 w 12192000"/>
              <a:gd name="connsiteY129" fmla="*/ 554591 h 3429001"/>
              <a:gd name="connsiteX130" fmla="*/ 0 w 12192000"/>
              <a:gd name="connsiteY130" fmla="*/ 0 h 3429001"/>
              <a:gd name="connsiteX131" fmla="*/ 12192000 w 12192000"/>
              <a:gd name="connsiteY131" fmla="*/ 0 h 3429001"/>
              <a:gd name="connsiteX132" fmla="*/ 12192000 w 12192000"/>
              <a:gd name="connsiteY132" fmla="*/ 818830 h 3429001"/>
              <a:gd name="connsiteX133" fmla="*/ 12067139 w 12192000"/>
              <a:gd name="connsiteY133" fmla="*/ 818830 h 3429001"/>
              <a:gd name="connsiteX134" fmla="*/ 12034895 w 12192000"/>
              <a:gd name="connsiteY134" fmla="*/ 786587 h 3429001"/>
              <a:gd name="connsiteX135" fmla="*/ 11995575 w 12192000"/>
              <a:gd name="connsiteY135" fmla="*/ 819616 h 3429001"/>
              <a:gd name="connsiteX136" fmla="*/ 11956253 w 12192000"/>
              <a:gd name="connsiteY136" fmla="*/ 784228 h 3429001"/>
              <a:gd name="connsiteX137" fmla="*/ 11825707 w 12192000"/>
              <a:gd name="connsiteY137" fmla="*/ 784228 h 3429001"/>
              <a:gd name="connsiteX138" fmla="*/ 11793463 w 12192000"/>
              <a:gd name="connsiteY138" fmla="*/ 771645 h 3429001"/>
              <a:gd name="connsiteX139" fmla="*/ 11766725 w 12192000"/>
              <a:gd name="connsiteY139" fmla="*/ 748838 h 3429001"/>
              <a:gd name="connsiteX140" fmla="*/ 11735267 w 12192000"/>
              <a:gd name="connsiteY140" fmla="*/ 780296 h 3429001"/>
              <a:gd name="connsiteX141" fmla="*/ 11500127 w 12192000"/>
              <a:gd name="connsiteY141" fmla="*/ 780296 h 3429001"/>
              <a:gd name="connsiteX142" fmla="*/ 11467097 w 12192000"/>
              <a:gd name="connsiteY142" fmla="*/ 747265 h 3429001"/>
              <a:gd name="connsiteX143" fmla="*/ 11353851 w 12192000"/>
              <a:gd name="connsiteY143" fmla="*/ 747265 h 3429001"/>
              <a:gd name="connsiteX144" fmla="*/ 11318461 w 12192000"/>
              <a:gd name="connsiteY144" fmla="*/ 711876 h 3429001"/>
              <a:gd name="connsiteX145" fmla="*/ 11277567 w 12192000"/>
              <a:gd name="connsiteY145" fmla="*/ 746479 h 3429001"/>
              <a:gd name="connsiteX146" fmla="*/ 11203643 w 12192000"/>
              <a:gd name="connsiteY146" fmla="*/ 746479 h 3429001"/>
              <a:gd name="connsiteX147" fmla="*/ 11164321 w 12192000"/>
              <a:gd name="connsiteY147" fmla="*/ 709517 h 3429001"/>
              <a:gd name="connsiteX148" fmla="*/ 11072077 w 12192000"/>
              <a:gd name="connsiteY148" fmla="*/ 709517 h 3429001"/>
              <a:gd name="connsiteX149" fmla="*/ 11066903 w 12192000"/>
              <a:gd name="connsiteY149" fmla="*/ 692116 h 3429001"/>
              <a:gd name="connsiteX150" fmla="*/ 11059727 w 12192000"/>
              <a:gd name="connsiteY150" fmla="*/ 680418 h 3429001"/>
              <a:gd name="connsiteX151" fmla="*/ 11034562 w 12192000"/>
              <a:gd name="connsiteY151" fmla="*/ 710303 h 3429001"/>
              <a:gd name="connsiteX152" fmla="*/ 11070624 w 12192000"/>
              <a:gd name="connsiteY152" fmla="*/ 710303 h 3429001"/>
              <a:gd name="connsiteX153" fmla="*/ 11067297 w 12192000"/>
              <a:gd name="connsiteY153" fmla="*/ 733307 h 3429001"/>
              <a:gd name="connsiteX154" fmla="*/ 11045571 w 12192000"/>
              <a:gd name="connsiteY154" fmla="*/ 739401 h 3429001"/>
              <a:gd name="connsiteX155" fmla="*/ 11032989 w 12192000"/>
              <a:gd name="connsiteY155" fmla="*/ 709517 h 3429001"/>
              <a:gd name="connsiteX156" fmla="*/ 10977153 w 12192000"/>
              <a:gd name="connsiteY156" fmla="*/ 709517 h 3429001"/>
              <a:gd name="connsiteX157" fmla="*/ 10933899 w 12192000"/>
              <a:gd name="connsiteY157" fmla="*/ 750412 h 3429001"/>
              <a:gd name="connsiteX158" fmla="*/ 10848965 w 12192000"/>
              <a:gd name="connsiteY158" fmla="*/ 733896 h 3429001"/>
              <a:gd name="connsiteX159" fmla="*/ 10821440 w 12192000"/>
              <a:gd name="connsiteY159" fmla="*/ 674914 h 3429001"/>
              <a:gd name="connsiteX160" fmla="*/ 10784477 w 12192000"/>
              <a:gd name="connsiteY160" fmla="*/ 751985 h 3429001"/>
              <a:gd name="connsiteX161" fmla="*/ 10756168 w 12192000"/>
              <a:gd name="connsiteY161" fmla="*/ 678847 h 3429001"/>
              <a:gd name="connsiteX162" fmla="*/ 10684602 w 12192000"/>
              <a:gd name="connsiteY162" fmla="*/ 715809 h 3429001"/>
              <a:gd name="connsiteX163" fmla="*/ 10637417 w 12192000"/>
              <a:gd name="connsiteY163" fmla="*/ 674914 h 3429001"/>
              <a:gd name="connsiteX164" fmla="*/ 10598882 w 12192000"/>
              <a:gd name="connsiteY164" fmla="*/ 709517 h 3429001"/>
              <a:gd name="connsiteX165" fmla="*/ 10561921 w 12192000"/>
              <a:gd name="connsiteY165" fmla="*/ 676488 h 3429001"/>
              <a:gd name="connsiteX166" fmla="*/ 10503725 w 12192000"/>
              <a:gd name="connsiteY166" fmla="*/ 718954 h 3429001"/>
              <a:gd name="connsiteX167" fmla="*/ 10443957 w 12192000"/>
              <a:gd name="connsiteY167" fmla="*/ 675700 h 3429001"/>
              <a:gd name="connsiteX168" fmla="*/ 10372391 w 12192000"/>
              <a:gd name="connsiteY168" fmla="*/ 675700 h 3429001"/>
              <a:gd name="connsiteX169" fmla="*/ 10337002 w 12192000"/>
              <a:gd name="connsiteY169" fmla="*/ 704013 h 3429001"/>
              <a:gd name="connsiteX170" fmla="*/ 10273301 w 12192000"/>
              <a:gd name="connsiteY170" fmla="*/ 668623 h 3429001"/>
              <a:gd name="connsiteX171" fmla="*/ 10213534 w 12192000"/>
              <a:gd name="connsiteY171" fmla="*/ 708731 h 3429001"/>
              <a:gd name="connsiteX172" fmla="*/ 10186009 w 12192000"/>
              <a:gd name="connsiteY172" fmla="*/ 627729 h 3429001"/>
              <a:gd name="connsiteX173" fmla="*/ 10145901 w 12192000"/>
              <a:gd name="connsiteY173" fmla="*/ 715022 h 3429001"/>
              <a:gd name="connsiteX174" fmla="*/ 10107365 w 12192000"/>
              <a:gd name="connsiteY174" fmla="*/ 632448 h 3429001"/>
              <a:gd name="connsiteX175" fmla="*/ 10070404 w 12192000"/>
              <a:gd name="connsiteY175" fmla="*/ 708731 h 3429001"/>
              <a:gd name="connsiteX176" fmla="*/ 9987829 w 12192000"/>
              <a:gd name="connsiteY176" fmla="*/ 641884 h 3429001"/>
              <a:gd name="connsiteX177" fmla="*/ 9963449 w 12192000"/>
              <a:gd name="connsiteY177" fmla="*/ 711876 h 3429001"/>
              <a:gd name="connsiteX178" fmla="*/ 9920983 w 12192000"/>
              <a:gd name="connsiteY178" fmla="*/ 674129 h 3429001"/>
              <a:gd name="connsiteX179" fmla="*/ 9766843 w 12192000"/>
              <a:gd name="connsiteY179" fmla="*/ 670982 h 3429001"/>
              <a:gd name="connsiteX180" fmla="*/ 9733813 w 12192000"/>
              <a:gd name="connsiteY180" fmla="*/ 636381 h 3429001"/>
              <a:gd name="connsiteX181" fmla="*/ 9678763 w 12192000"/>
              <a:gd name="connsiteY181" fmla="*/ 678061 h 3429001"/>
              <a:gd name="connsiteX182" fmla="*/ 9596975 w 12192000"/>
              <a:gd name="connsiteY182" fmla="*/ 632448 h 3429001"/>
              <a:gd name="connsiteX183" fmla="*/ 9545071 w 12192000"/>
              <a:gd name="connsiteY183" fmla="*/ 661545 h 3429001"/>
              <a:gd name="connsiteX184" fmla="*/ 9457778 w 12192000"/>
              <a:gd name="connsiteY184" fmla="*/ 604136 h 3429001"/>
              <a:gd name="connsiteX185" fmla="*/ 9433399 w 12192000"/>
              <a:gd name="connsiteY185" fmla="*/ 674129 h 3429001"/>
              <a:gd name="connsiteX186" fmla="*/ 9390145 w 12192000"/>
              <a:gd name="connsiteY186" fmla="*/ 634021 h 3429001"/>
              <a:gd name="connsiteX187" fmla="*/ 9337191 w 12192000"/>
              <a:gd name="connsiteY187" fmla="*/ 634021 h 3429001"/>
              <a:gd name="connsiteX188" fmla="*/ 9334788 w 12192000"/>
              <a:gd name="connsiteY188" fmla="*/ 623942 h 3429001"/>
              <a:gd name="connsiteX189" fmla="*/ 9301279 w 12192000"/>
              <a:gd name="connsiteY189" fmla="*/ 611998 h 3429001"/>
              <a:gd name="connsiteX190" fmla="*/ 9317598 w 12192000"/>
              <a:gd name="connsiteY190" fmla="*/ 625859 h 3429001"/>
              <a:gd name="connsiteX191" fmla="*/ 9332940 w 12192000"/>
              <a:gd name="connsiteY191" fmla="*/ 639098 h 3429001"/>
              <a:gd name="connsiteX192" fmla="*/ 9327231 w 12192000"/>
              <a:gd name="connsiteY192" fmla="*/ 660280 h 3429001"/>
              <a:gd name="connsiteX193" fmla="*/ 9270609 w 12192000"/>
              <a:gd name="connsiteY193" fmla="*/ 665477 h 3429001"/>
              <a:gd name="connsiteX194" fmla="*/ 9247016 w 12192000"/>
              <a:gd name="connsiteY194" fmla="*/ 600204 h 3429001"/>
              <a:gd name="connsiteX195" fmla="*/ 9159723 w 12192000"/>
              <a:gd name="connsiteY195" fmla="*/ 600204 h 3429001"/>
              <a:gd name="connsiteX196" fmla="*/ 9127479 w 12192000"/>
              <a:gd name="connsiteY196" fmla="*/ 632448 h 3429001"/>
              <a:gd name="connsiteX197" fmla="*/ 9084226 w 12192000"/>
              <a:gd name="connsiteY197" fmla="*/ 593913 h 3429001"/>
              <a:gd name="connsiteX198" fmla="*/ 8970194 w 12192000"/>
              <a:gd name="connsiteY198" fmla="*/ 670982 h 3429001"/>
              <a:gd name="connsiteX199" fmla="*/ 8934019 w 12192000"/>
              <a:gd name="connsiteY199" fmla="*/ 669409 h 3429001"/>
              <a:gd name="connsiteX200" fmla="*/ 8893911 w 12192000"/>
              <a:gd name="connsiteY200" fmla="*/ 586834 h 3429001"/>
              <a:gd name="connsiteX201" fmla="*/ 8823132 w 12192000"/>
              <a:gd name="connsiteY201" fmla="*/ 626156 h 3429001"/>
              <a:gd name="connsiteX202" fmla="*/ 8764150 w 12192000"/>
              <a:gd name="connsiteY202" fmla="*/ 591554 h 3429001"/>
              <a:gd name="connsiteX203" fmla="*/ 8708314 w 12192000"/>
              <a:gd name="connsiteY203" fmla="*/ 630088 h 3429001"/>
              <a:gd name="connsiteX204" fmla="*/ 8596641 w 12192000"/>
              <a:gd name="connsiteY204" fmla="*/ 630088 h 3429001"/>
              <a:gd name="connsiteX205" fmla="*/ 8555748 w 12192000"/>
              <a:gd name="connsiteY205" fmla="*/ 600204 h 3429001"/>
              <a:gd name="connsiteX206" fmla="*/ 8517999 w 12192000"/>
              <a:gd name="connsiteY206" fmla="*/ 637952 h 3429001"/>
              <a:gd name="connsiteX207" fmla="*/ 8135010 w 12192000"/>
              <a:gd name="connsiteY207" fmla="*/ 623798 h 3429001"/>
              <a:gd name="connsiteX208" fmla="*/ 8129505 w 12192000"/>
              <a:gd name="connsiteY208" fmla="*/ 611214 h 3429001"/>
              <a:gd name="connsiteX209" fmla="*/ 8279712 w 12192000"/>
              <a:gd name="connsiteY209" fmla="*/ 567961 h 3429001"/>
              <a:gd name="connsiteX210" fmla="*/ 8221516 w 12192000"/>
              <a:gd name="connsiteY210" fmla="*/ 559311 h 3429001"/>
              <a:gd name="connsiteX211" fmla="*/ 8157914 w 12192000"/>
              <a:gd name="connsiteY211" fmla="*/ 557639 h 3429001"/>
              <a:gd name="connsiteX212" fmla="*/ 8097261 w 12192000"/>
              <a:gd name="connsiteY212" fmla="*/ 574251 h 3429001"/>
              <a:gd name="connsiteX213" fmla="*/ 8051793 w 12192000"/>
              <a:gd name="connsiteY213" fmla="*/ 595471 h 3429001"/>
              <a:gd name="connsiteX214" fmla="*/ 8039067 w 12192000"/>
              <a:gd name="connsiteY214" fmla="*/ 564028 h 3429001"/>
              <a:gd name="connsiteX215" fmla="*/ 7889646 w 12192000"/>
              <a:gd name="connsiteY215" fmla="*/ 578970 h 3429001"/>
              <a:gd name="connsiteX216" fmla="*/ 8014502 w 12192000"/>
              <a:gd name="connsiteY216" fmla="*/ 596112 h 3429001"/>
              <a:gd name="connsiteX217" fmla="*/ 8049782 w 12192000"/>
              <a:gd name="connsiteY217" fmla="*/ 596992 h 3429001"/>
              <a:gd name="connsiteX218" fmla="*/ 8035921 w 12192000"/>
              <a:gd name="connsiteY218" fmla="*/ 630875 h 3429001"/>
              <a:gd name="connsiteX219" fmla="*/ 7763817 w 12192000"/>
              <a:gd name="connsiteY219" fmla="*/ 630875 h 3429001"/>
              <a:gd name="connsiteX220" fmla="*/ 7691465 w 12192000"/>
              <a:gd name="connsiteY220" fmla="*/ 558523 h 3429001"/>
              <a:gd name="connsiteX221" fmla="*/ 7656077 w 12192000"/>
              <a:gd name="connsiteY221" fmla="*/ 634021 h 3429001"/>
              <a:gd name="connsiteX222" fmla="*/ 7448460 w 12192000"/>
              <a:gd name="connsiteY222" fmla="*/ 634021 h 3429001"/>
              <a:gd name="connsiteX223" fmla="*/ 7416216 w 12192000"/>
              <a:gd name="connsiteY223" fmla="*/ 645030 h 3429001"/>
              <a:gd name="connsiteX224" fmla="*/ 7390264 w 12192000"/>
              <a:gd name="connsiteY224" fmla="*/ 670196 h 3429001"/>
              <a:gd name="connsiteX225" fmla="*/ 7350943 w 12192000"/>
              <a:gd name="connsiteY225" fmla="*/ 635593 h 3429001"/>
              <a:gd name="connsiteX226" fmla="*/ 7317126 w 12192000"/>
              <a:gd name="connsiteY226" fmla="*/ 669409 h 3429001"/>
              <a:gd name="connsiteX227" fmla="*/ 7128384 w 12192000"/>
              <a:gd name="connsiteY227" fmla="*/ 669409 h 3429001"/>
              <a:gd name="connsiteX228" fmla="*/ 7089063 w 12192000"/>
              <a:gd name="connsiteY228" fmla="*/ 708731 h 3429001"/>
              <a:gd name="connsiteX229" fmla="*/ 6896389 w 12192000"/>
              <a:gd name="connsiteY229" fmla="*/ 708731 h 3429001"/>
              <a:gd name="connsiteX230" fmla="*/ 6791008 w 12192000"/>
              <a:gd name="connsiteY230" fmla="*/ 748052 h 3429001"/>
              <a:gd name="connsiteX231" fmla="*/ 6735958 w 12192000"/>
              <a:gd name="connsiteY231" fmla="*/ 789732 h 3429001"/>
              <a:gd name="connsiteX232" fmla="*/ 6631364 w 12192000"/>
              <a:gd name="connsiteY232" fmla="*/ 789732 h 3429001"/>
              <a:gd name="connsiteX233" fmla="*/ 6599119 w 12192000"/>
              <a:gd name="connsiteY233" fmla="*/ 821976 h 3429001"/>
              <a:gd name="connsiteX234" fmla="*/ 6528342 w 12192000"/>
              <a:gd name="connsiteY234" fmla="*/ 821976 h 3429001"/>
              <a:gd name="connsiteX235" fmla="*/ 6426107 w 12192000"/>
              <a:gd name="connsiteY235" fmla="*/ 899046 h 3429001"/>
              <a:gd name="connsiteX236" fmla="*/ 6326230 w 12192000"/>
              <a:gd name="connsiteY236" fmla="*/ 974543 h 3429001"/>
              <a:gd name="connsiteX237" fmla="*/ 6158721 w 12192000"/>
              <a:gd name="connsiteY237" fmla="*/ 1018583 h 3429001"/>
              <a:gd name="connsiteX238" fmla="*/ 6047835 w 12192000"/>
              <a:gd name="connsiteY238" fmla="*/ 1103517 h 3429001"/>
              <a:gd name="connsiteX239" fmla="*/ 6058058 w 12192000"/>
              <a:gd name="connsiteY239" fmla="*/ 1187666 h 3429001"/>
              <a:gd name="connsiteX240" fmla="*/ 6086370 w 12192000"/>
              <a:gd name="connsiteY240" fmla="*/ 1201034 h 3429001"/>
              <a:gd name="connsiteX241" fmla="*/ 6093274 w 12192000"/>
              <a:gd name="connsiteY241" fmla="*/ 1196432 h 3429001"/>
              <a:gd name="connsiteX242" fmla="*/ 6086481 w 12192000"/>
              <a:gd name="connsiteY242" fmla="*/ 1231741 h 3429001"/>
              <a:gd name="connsiteX243" fmla="*/ 6022671 w 12192000"/>
              <a:gd name="connsiteY243" fmla="*/ 1368543 h 3429001"/>
              <a:gd name="connsiteX244" fmla="*/ 6022671 w 12192000"/>
              <a:gd name="connsiteY244" fmla="*/ 1486508 h 3429001"/>
              <a:gd name="connsiteX245" fmla="*/ 6154790 w 12192000"/>
              <a:gd name="connsiteY245" fmla="*/ 1579306 h 3429001"/>
              <a:gd name="connsiteX246" fmla="*/ 6223208 w 12192000"/>
              <a:gd name="connsiteY246" fmla="*/ 1687047 h 3429001"/>
              <a:gd name="connsiteX247" fmla="*/ 6783143 w 12192000"/>
              <a:gd name="connsiteY247" fmla="*/ 1687047 h 3429001"/>
              <a:gd name="connsiteX248" fmla="*/ 6799659 w 12192000"/>
              <a:gd name="connsiteY248" fmla="*/ 1692553 h 3429001"/>
              <a:gd name="connsiteX249" fmla="*/ 6819319 w 12192000"/>
              <a:gd name="connsiteY249" fmla="*/ 1711427 h 3429001"/>
              <a:gd name="connsiteX250" fmla="*/ 6636868 w 12192000"/>
              <a:gd name="connsiteY250" fmla="*/ 1731086 h 3429001"/>
              <a:gd name="connsiteX251" fmla="*/ 6603839 w 12192000"/>
              <a:gd name="connsiteY251" fmla="*/ 1764117 h 3429001"/>
              <a:gd name="connsiteX252" fmla="*/ 6339600 w 12192000"/>
              <a:gd name="connsiteY252" fmla="*/ 1764117 h 3429001"/>
              <a:gd name="connsiteX253" fmla="*/ 6304997 w 12192000"/>
              <a:gd name="connsiteY253" fmla="*/ 1798718 h 3429001"/>
              <a:gd name="connsiteX254" fmla="*/ 6226354 w 12192000"/>
              <a:gd name="connsiteY254" fmla="*/ 1724795 h 3429001"/>
              <a:gd name="connsiteX255" fmla="*/ 6044690 w 12192000"/>
              <a:gd name="connsiteY255" fmla="*/ 1724795 h 3429001"/>
              <a:gd name="connsiteX256" fmla="*/ 5903133 w 12192000"/>
              <a:gd name="connsiteY256" fmla="*/ 1859275 h 3429001"/>
              <a:gd name="connsiteX257" fmla="*/ 5920435 w 12192000"/>
              <a:gd name="connsiteY257" fmla="*/ 1945782 h 3429001"/>
              <a:gd name="connsiteX258" fmla="*/ 5999864 w 12192000"/>
              <a:gd name="connsiteY258" fmla="*/ 1913537 h 3429001"/>
              <a:gd name="connsiteX259" fmla="*/ 6039972 w 12192000"/>
              <a:gd name="connsiteY259" fmla="*/ 1950500 h 3429001"/>
              <a:gd name="connsiteX260" fmla="*/ 6133556 w 12192000"/>
              <a:gd name="connsiteY260" fmla="*/ 1941062 h 3429001"/>
              <a:gd name="connsiteX261" fmla="*/ 6120187 w 12192000"/>
              <a:gd name="connsiteY261" fmla="*/ 1981170 h 3429001"/>
              <a:gd name="connsiteX262" fmla="*/ 6003796 w 12192000"/>
              <a:gd name="connsiteY262" fmla="*/ 2061386 h 3429001"/>
              <a:gd name="connsiteX263" fmla="*/ 5909424 w 12192000"/>
              <a:gd name="connsiteY263" fmla="*/ 2067677 h 3429001"/>
              <a:gd name="connsiteX264" fmla="*/ 5909424 w 12192000"/>
              <a:gd name="connsiteY264" fmla="*/ 2235973 h 3429001"/>
              <a:gd name="connsiteX265" fmla="*/ 5762363 w 12192000"/>
              <a:gd name="connsiteY265" fmla="*/ 2302033 h 3429001"/>
              <a:gd name="connsiteX266" fmla="*/ 5741129 w 12192000"/>
              <a:gd name="connsiteY266" fmla="*/ 2365732 h 3429001"/>
              <a:gd name="connsiteX267" fmla="*/ 5624738 w 12192000"/>
              <a:gd name="connsiteY267" fmla="*/ 2365732 h 3429001"/>
              <a:gd name="connsiteX268" fmla="*/ 5584630 w 12192000"/>
              <a:gd name="connsiteY268" fmla="*/ 2403480 h 3429001"/>
              <a:gd name="connsiteX269" fmla="*/ 5492619 w 12192000"/>
              <a:gd name="connsiteY269" fmla="*/ 2403480 h 3429001"/>
              <a:gd name="connsiteX270" fmla="*/ 5439141 w 12192000"/>
              <a:gd name="connsiteY270" fmla="*/ 2478192 h 3429001"/>
              <a:gd name="connsiteX271" fmla="*/ 5393529 w 12192000"/>
              <a:gd name="connsiteY271" fmla="*/ 2482911 h 3429001"/>
              <a:gd name="connsiteX272" fmla="*/ 5340839 w 12192000"/>
              <a:gd name="connsiteY272" fmla="*/ 2535602 h 3429001"/>
              <a:gd name="connsiteX273" fmla="*/ 5301519 w 12192000"/>
              <a:gd name="connsiteY273" fmla="*/ 2575708 h 3429001"/>
              <a:gd name="connsiteX274" fmla="*/ 5262983 w 12192000"/>
              <a:gd name="connsiteY274" fmla="*/ 2634690 h 3429001"/>
              <a:gd name="connsiteX275" fmla="*/ 5235458 w 12192000"/>
              <a:gd name="connsiteY275" fmla="*/ 2678730 h 3429001"/>
              <a:gd name="connsiteX276" fmla="*/ 5244895 w 12192000"/>
              <a:gd name="connsiteY276" fmla="*/ 2742430 h 3429001"/>
              <a:gd name="connsiteX277" fmla="*/ 5333760 w 12192000"/>
              <a:gd name="connsiteY277" fmla="*/ 2696818 h 3429001"/>
              <a:gd name="connsiteX278" fmla="*/ 5448579 w 12192000"/>
              <a:gd name="connsiteY278" fmla="*/ 2609525 h 3429001"/>
              <a:gd name="connsiteX279" fmla="*/ 5459589 w 12192000"/>
              <a:gd name="connsiteY279" fmla="*/ 2561552 h 3429001"/>
              <a:gd name="connsiteX280" fmla="*/ 5622379 w 12192000"/>
              <a:gd name="connsiteY280" fmla="*/ 2554475 h 3429001"/>
              <a:gd name="connsiteX281" fmla="*/ 5662486 w 12192000"/>
              <a:gd name="connsiteY281" fmla="*/ 2517513 h 3429001"/>
              <a:gd name="connsiteX282" fmla="*/ 5830782 w 12192000"/>
              <a:gd name="connsiteY282" fmla="*/ 2517513 h 3429001"/>
              <a:gd name="connsiteX283" fmla="*/ 5645185 w 12192000"/>
              <a:gd name="connsiteY283" fmla="*/ 2608738 h 3429001"/>
              <a:gd name="connsiteX284" fmla="*/ 5515424 w 12192000"/>
              <a:gd name="connsiteY284" fmla="*/ 2702323 h 3429001"/>
              <a:gd name="connsiteX285" fmla="*/ 5399821 w 12192000"/>
              <a:gd name="connsiteY285" fmla="*/ 2742430 h 3429001"/>
              <a:gd name="connsiteX286" fmla="*/ 5334550 w 12192000"/>
              <a:gd name="connsiteY286" fmla="*/ 2697605 h 3429001"/>
              <a:gd name="connsiteX287" fmla="*/ 5265344 w 12192000"/>
              <a:gd name="connsiteY287" fmla="*/ 2807704 h 3429001"/>
              <a:gd name="connsiteX288" fmla="*/ 5264556 w 12192000"/>
              <a:gd name="connsiteY288" fmla="*/ 2863540 h 3429001"/>
              <a:gd name="connsiteX289" fmla="*/ 5194567 w 12192000"/>
              <a:gd name="connsiteY289" fmla="*/ 2994086 h 3429001"/>
              <a:gd name="connsiteX290" fmla="*/ 5194567 w 12192000"/>
              <a:gd name="connsiteY290" fmla="*/ 3118342 h 3429001"/>
              <a:gd name="connsiteX291" fmla="*/ 5380159 w 12192000"/>
              <a:gd name="connsiteY291" fmla="*/ 3220577 h 3429001"/>
              <a:gd name="connsiteX292" fmla="*/ 5380159 w 12192000"/>
              <a:gd name="connsiteY292" fmla="*/ 3288210 h 3429001"/>
              <a:gd name="connsiteX293" fmla="*/ 5399034 w 12192000"/>
              <a:gd name="connsiteY293" fmla="*/ 3347978 h 3429001"/>
              <a:gd name="connsiteX294" fmla="*/ 5321968 w 12192000"/>
              <a:gd name="connsiteY294" fmla="*/ 3347978 h 3429001"/>
              <a:gd name="connsiteX295" fmla="*/ 5286479 w 12192000"/>
              <a:gd name="connsiteY295" fmla="*/ 3420428 h 3429001"/>
              <a:gd name="connsiteX296" fmla="*/ 5278134 w 12192000"/>
              <a:gd name="connsiteY296" fmla="*/ 3429001 h 3429001"/>
              <a:gd name="connsiteX297" fmla="*/ 0 w 12192000"/>
              <a:gd name="connsiteY297" fmla="*/ 3429001 h 3429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Lst>
            <a:rect l="l" t="t" r="r" b="b"/>
            <a:pathLst>
              <a:path w="12192000" h="3429001">
                <a:moveTo>
                  <a:pt x="7386332" y="3395950"/>
                </a:moveTo>
                <a:cubicBezTo>
                  <a:pt x="7394197" y="3399881"/>
                  <a:pt x="7402848" y="3404601"/>
                  <a:pt x="7410712" y="3409318"/>
                </a:cubicBezTo>
                <a:cubicBezTo>
                  <a:pt x="7405992" y="3413252"/>
                  <a:pt x="7401275" y="3421115"/>
                  <a:pt x="7398129" y="3421115"/>
                </a:cubicBezTo>
                <a:cubicBezTo>
                  <a:pt x="7389478" y="3418756"/>
                  <a:pt x="7381614" y="3413252"/>
                  <a:pt x="7372964" y="3409318"/>
                </a:cubicBezTo>
                <a:cubicBezTo>
                  <a:pt x="7376896" y="3405388"/>
                  <a:pt x="7381614" y="3400668"/>
                  <a:pt x="7386332" y="3395950"/>
                </a:cubicBezTo>
                <a:close/>
                <a:moveTo>
                  <a:pt x="8341053" y="3358202"/>
                </a:moveTo>
                <a:cubicBezTo>
                  <a:pt x="8345771" y="3362920"/>
                  <a:pt x="8350490" y="3367639"/>
                  <a:pt x="8354422" y="3371572"/>
                </a:cubicBezTo>
                <a:cubicBezTo>
                  <a:pt x="8346559" y="3375503"/>
                  <a:pt x="8337907" y="3381008"/>
                  <a:pt x="8329256" y="3383366"/>
                </a:cubicBezTo>
                <a:cubicBezTo>
                  <a:pt x="8326111" y="3384154"/>
                  <a:pt x="8320606" y="3375503"/>
                  <a:pt x="8316673" y="3371572"/>
                </a:cubicBezTo>
                <a:cubicBezTo>
                  <a:pt x="8325325" y="3366852"/>
                  <a:pt x="8333189" y="3362920"/>
                  <a:pt x="8341053" y="3358202"/>
                </a:cubicBezTo>
                <a:close/>
                <a:moveTo>
                  <a:pt x="6232646" y="1881295"/>
                </a:moveTo>
                <a:cubicBezTo>
                  <a:pt x="6247587" y="1893090"/>
                  <a:pt x="6268821" y="1909604"/>
                  <a:pt x="6293201" y="1929266"/>
                </a:cubicBezTo>
                <a:cubicBezTo>
                  <a:pt x="6232646" y="1967015"/>
                  <a:pt x="6181528" y="1939490"/>
                  <a:pt x="6133556" y="1941062"/>
                </a:cubicBezTo>
                <a:cubicBezTo>
                  <a:pt x="6165013" y="1915896"/>
                  <a:pt x="6195683" y="1900169"/>
                  <a:pt x="6232646" y="1881295"/>
                </a:cubicBezTo>
                <a:close/>
                <a:moveTo>
                  <a:pt x="7618328" y="1729513"/>
                </a:moveTo>
                <a:cubicBezTo>
                  <a:pt x="7622260" y="1734232"/>
                  <a:pt x="7630124" y="1738951"/>
                  <a:pt x="7630124" y="1742097"/>
                </a:cubicBezTo>
                <a:cubicBezTo>
                  <a:pt x="7627764" y="1750747"/>
                  <a:pt x="7622260" y="1758612"/>
                  <a:pt x="7618328" y="1767263"/>
                </a:cubicBezTo>
                <a:cubicBezTo>
                  <a:pt x="7614396" y="1763331"/>
                  <a:pt x="7609677" y="1758612"/>
                  <a:pt x="7604959" y="1753893"/>
                </a:cubicBezTo>
                <a:cubicBezTo>
                  <a:pt x="7608890" y="1746029"/>
                  <a:pt x="7613610" y="1737376"/>
                  <a:pt x="7618328" y="1729513"/>
                </a:cubicBezTo>
                <a:close/>
                <a:moveTo>
                  <a:pt x="7444625" y="1727056"/>
                </a:moveTo>
                <a:cubicBezTo>
                  <a:pt x="7456914" y="1727155"/>
                  <a:pt x="7471266" y="1735806"/>
                  <a:pt x="7487782" y="1747603"/>
                </a:cubicBezTo>
                <a:cubicBezTo>
                  <a:pt x="7458684" y="1775913"/>
                  <a:pt x="7437450" y="1768049"/>
                  <a:pt x="7413857" y="1757825"/>
                </a:cubicBezTo>
                <a:cubicBezTo>
                  <a:pt x="7422114" y="1735412"/>
                  <a:pt x="7432338" y="1726957"/>
                  <a:pt x="7444625" y="1727056"/>
                </a:cubicBezTo>
                <a:close/>
                <a:moveTo>
                  <a:pt x="6093448" y="1195530"/>
                </a:moveTo>
                <a:lnTo>
                  <a:pt x="6093883" y="1195530"/>
                </a:lnTo>
                <a:lnTo>
                  <a:pt x="6093448" y="1196316"/>
                </a:lnTo>
                <a:lnTo>
                  <a:pt x="6093274" y="1196432"/>
                </a:lnTo>
                <a:close/>
                <a:moveTo>
                  <a:pt x="6463265" y="1127700"/>
                </a:moveTo>
                <a:cubicBezTo>
                  <a:pt x="6474866" y="1131829"/>
                  <a:pt x="6487054" y="1141266"/>
                  <a:pt x="6496099" y="1137334"/>
                </a:cubicBezTo>
                <a:cubicBezTo>
                  <a:pt x="6476437" y="1168791"/>
                  <a:pt x="6455991" y="1170363"/>
                  <a:pt x="6433971" y="1149917"/>
                </a:cubicBezTo>
                <a:cubicBezTo>
                  <a:pt x="6440655" y="1124750"/>
                  <a:pt x="6451666" y="1123571"/>
                  <a:pt x="6463265" y="1127700"/>
                </a:cubicBezTo>
                <a:close/>
                <a:moveTo>
                  <a:pt x="6252110" y="1081202"/>
                </a:moveTo>
                <a:cubicBezTo>
                  <a:pt x="6273146" y="1080710"/>
                  <a:pt x="6293987" y="1082677"/>
                  <a:pt x="6314434" y="1092508"/>
                </a:cubicBezTo>
                <a:cubicBezTo>
                  <a:pt x="6317580" y="1104304"/>
                  <a:pt x="6319938" y="1116099"/>
                  <a:pt x="6327017" y="1143625"/>
                </a:cubicBezTo>
                <a:cubicBezTo>
                  <a:pt x="6308143" y="1154635"/>
                  <a:pt x="6282190" y="1170363"/>
                  <a:pt x="6240510" y="1195530"/>
                </a:cubicBezTo>
                <a:lnTo>
                  <a:pt x="6093883" y="1195530"/>
                </a:lnTo>
                <a:lnTo>
                  <a:pt x="6111855" y="1163053"/>
                </a:lnTo>
                <a:cubicBezTo>
                  <a:pt x="6134342" y="1133598"/>
                  <a:pt x="6166782" y="1113544"/>
                  <a:pt x="6188605" y="1084642"/>
                </a:cubicBezTo>
                <a:cubicBezTo>
                  <a:pt x="6209839" y="1084642"/>
                  <a:pt x="6231072" y="1081693"/>
                  <a:pt x="6252110" y="1081202"/>
                </a:cubicBezTo>
                <a:close/>
                <a:moveTo>
                  <a:pt x="10298467" y="748052"/>
                </a:moveTo>
                <a:cubicBezTo>
                  <a:pt x="10302399" y="751985"/>
                  <a:pt x="10307117" y="756703"/>
                  <a:pt x="10311837" y="761421"/>
                </a:cubicBezTo>
                <a:cubicBezTo>
                  <a:pt x="10307904" y="769286"/>
                  <a:pt x="10303186" y="777936"/>
                  <a:pt x="10298467" y="785800"/>
                </a:cubicBezTo>
                <a:cubicBezTo>
                  <a:pt x="10294535" y="781082"/>
                  <a:pt x="10286671" y="776363"/>
                  <a:pt x="10286671" y="773217"/>
                </a:cubicBezTo>
                <a:cubicBezTo>
                  <a:pt x="10289030" y="764566"/>
                  <a:pt x="10294535" y="756703"/>
                  <a:pt x="10298467" y="748052"/>
                </a:cubicBezTo>
                <a:close/>
                <a:moveTo>
                  <a:pt x="9180169" y="740188"/>
                </a:moveTo>
                <a:lnTo>
                  <a:pt x="9179383" y="740974"/>
                </a:lnTo>
                <a:lnTo>
                  <a:pt x="9179360" y="740289"/>
                </a:lnTo>
                <a:close/>
                <a:moveTo>
                  <a:pt x="9128266" y="711090"/>
                </a:moveTo>
                <a:cubicBezTo>
                  <a:pt x="9144780" y="711876"/>
                  <a:pt x="9162082" y="715022"/>
                  <a:pt x="9178596" y="717381"/>
                </a:cubicBezTo>
                <a:lnTo>
                  <a:pt x="9179360" y="740289"/>
                </a:lnTo>
                <a:lnTo>
                  <a:pt x="9129838" y="746479"/>
                </a:lnTo>
                <a:cubicBezTo>
                  <a:pt x="9124333" y="746479"/>
                  <a:pt x="9118828" y="731538"/>
                  <a:pt x="9116469" y="722887"/>
                </a:cubicBezTo>
                <a:cubicBezTo>
                  <a:pt x="9115683" y="720527"/>
                  <a:pt x="9124333" y="711090"/>
                  <a:pt x="9128266" y="711090"/>
                </a:cubicBezTo>
                <a:close/>
                <a:moveTo>
                  <a:pt x="9449127" y="709125"/>
                </a:moveTo>
                <a:cubicBezTo>
                  <a:pt x="9461711" y="709125"/>
                  <a:pt x="9474293" y="715809"/>
                  <a:pt x="9486876" y="729178"/>
                </a:cubicBezTo>
                <a:cubicBezTo>
                  <a:pt x="9461711" y="755917"/>
                  <a:pt x="9436545" y="755917"/>
                  <a:pt x="9411379" y="729178"/>
                </a:cubicBezTo>
                <a:cubicBezTo>
                  <a:pt x="9423962" y="715809"/>
                  <a:pt x="9436545" y="709125"/>
                  <a:pt x="9449127" y="709125"/>
                </a:cubicBezTo>
                <a:close/>
                <a:moveTo>
                  <a:pt x="7775613" y="679633"/>
                </a:moveTo>
                <a:cubicBezTo>
                  <a:pt x="7778760" y="678847"/>
                  <a:pt x="7784264" y="687497"/>
                  <a:pt x="7788196" y="691430"/>
                </a:cubicBezTo>
                <a:cubicBezTo>
                  <a:pt x="7779545" y="696148"/>
                  <a:pt x="7771680" y="700081"/>
                  <a:pt x="7763817" y="704798"/>
                </a:cubicBezTo>
                <a:cubicBezTo>
                  <a:pt x="7759097" y="700081"/>
                  <a:pt x="7754379" y="695362"/>
                  <a:pt x="7750447" y="691430"/>
                </a:cubicBezTo>
                <a:cubicBezTo>
                  <a:pt x="7758312" y="687497"/>
                  <a:pt x="7766963" y="681992"/>
                  <a:pt x="7775613" y="679633"/>
                </a:cubicBezTo>
                <a:close/>
                <a:moveTo>
                  <a:pt x="8529795" y="678061"/>
                </a:moveTo>
                <a:cubicBezTo>
                  <a:pt x="8534514" y="682779"/>
                  <a:pt x="8539233" y="687497"/>
                  <a:pt x="8543165" y="691430"/>
                </a:cubicBezTo>
                <a:cubicBezTo>
                  <a:pt x="8535300" y="695362"/>
                  <a:pt x="8526650" y="700866"/>
                  <a:pt x="8517999" y="703225"/>
                </a:cubicBezTo>
                <a:cubicBezTo>
                  <a:pt x="8514853" y="704013"/>
                  <a:pt x="8509349" y="695362"/>
                  <a:pt x="8505416" y="691430"/>
                </a:cubicBezTo>
                <a:cubicBezTo>
                  <a:pt x="8514067" y="686711"/>
                  <a:pt x="8521931" y="682779"/>
                  <a:pt x="8529795" y="678061"/>
                </a:cubicBezTo>
                <a:close/>
                <a:moveTo>
                  <a:pt x="10896937" y="678059"/>
                </a:moveTo>
                <a:cubicBezTo>
                  <a:pt x="10892219" y="682777"/>
                  <a:pt x="10887501" y="687495"/>
                  <a:pt x="10883569" y="691428"/>
                </a:cubicBezTo>
                <a:cubicBezTo>
                  <a:pt x="10891433" y="695360"/>
                  <a:pt x="10900083" y="700865"/>
                  <a:pt x="10908734" y="703224"/>
                </a:cubicBezTo>
                <a:cubicBezTo>
                  <a:pt x="10911879" y="704010"/>
                  <a:pt x="10917385" y="695360"/>
                  <a:pt x="10921317" y="691428"/>
                </a:cubicBezTo>
                <a:cubicBezTo>
                  <a:pt x="10912667" y="686709"/>
                  <a:pt x="10904802" y="682777"/>
                  <a:pt x="10896937" y="678059"/>
                </a:cubicBezTo>
                <a:close/>
                <a:moveTo>
                  <a:pt x="7693826" y="672556"/>
                </a:moveTo>
                <a:cubicBezTo>
                  <a:pt x="7697758" y="677274"/>
                  <a:pt x="7705621" y="681992"/>
                  <a:pt x="7705621" y="685138"/>
                </a:cubicBezTo>
                <a:cubicBezTo>
                  <a:pt x="7703262" y="693790"/>
                  <a:pt x="7697758" y="701653"/>
                  <a:pt x="7693826" y="710304"/>
                </a:cubicBezTo>
                <a:cubicBezTo>
                  <a:pt x="7689893" y="706372"/>
                  <a:pt x="7685175" y="701653"/>
                  <a:pt x="7680456" y="696934"/>
                </a:cubicBezTo>
                <a:cubicBezTo>
                  <a:pt x="7684387" y="689070"/>
                  <a:pt x="7689106" y="680420"/>
                  <a:pt x="7693826" y="672556"/>
                </a:cubicBezTo>
                <a:close/>
                <a:moveTo>
                  <a:pt x="8429919" y="671376"/>
                </a:moveTo>
                <a:cubicBezTo>
                  <a:pt x="8442502" y="671376"/>
                  <a:pt x="8455085" y="678061"/>
                  <a:pt x="8467668" y="691430"/>
                </a:cubicBezTo>
                <a:cubicBezTo>
                  <a:pt x="8442502" y="718167"/>
                  <a:pt x="8417336" y="718167"/>
                  <a:pt x="8392171" y="691430"/>
                </a:cubicBezTo>
                <a:cubicBezTo>
                  <a:pt x="8404753" y="678061"/>
                  <a:pt x="8417336" y="671376"/>
                  <a:pt x="8429919" y="671376"/>
                </a:cubicBezTo>
                <a:close/>
                <a:moveTo>
                  <a:pt x="7523956" y="671376"/>
                </a:moveTo>
                <a:cubicBezTo>
                  <a:pt x="7536540" y="671376"/>
                  <a:pt x="7549122" y="678061"/>
                  <a:pt x="7561705" y="691430"/>
                </a:cubicBezTo>
                <a:cubicBezTo>
                  <a:pt x="7536540" y="718167"/>
                  <a:pt x="7511374" y="718167"/>
                  <a:pt x="7486209" y="691430"/>
                </a:cubicBezTo>
                <a:cubicBezTo>
                  <a:pt x="7498791" y="678061"/>
                  <a:pt x="7511374" y="671376"/>
                  <a:pt x="7523956" y="671376"/>
                </a:cubicBezTo>
                <a:close/>
                <a:moveTo>
                  <a:pt x="8086350" y="670098"/>
                </a:moveTo>
                <a:cubicBezTo>
                  <a:pt x="8098637" y="670196"/>
                  <a:pt x="8112990" y="678847"/>
                  <a:pt x="8129505" y="690642"/>
                </a:cubicBezTo>
                <a:cubicBezTo>
                  <a:pt x="8100407" y="718954"/>
                  <a:pt x="8079173" y="711090"/>
                  <a:pt x="8055581" y="700866"/>
                </a:cubicBezTo>
                <a:cubicBezTo>
                  <a:pt x="8063838" y="678454"/>
                  <a:pt x="8074062" y="670000"/>
                  <a:pt x="8086350" y="670098"/>
                </a:cubicBezTo>
                <a:close/>
                <a:moveTo>
                  <a:pt x="8329257" y="566386"/>
                </a:moveTo>
                <a:cubicBezTo>
                  <a:pt x="8326111" y="565600"/>
                  <a:pt x="8320607" y="574250"/>
                  <a:pt x="8316674" y="578183"/>
                </a:cubicBezTo>
                <a:cubicBezTo>
                  <a:pt x="8325325" y="582901"/>
                  <a:pt x="8333190" y="586833"/>
                  <a:pt x="8341054" y="591552"/>
                </a:cubicBezTo>
                <a:cubicBezTo>
                  <a:pt x="8345772" y="586833"/>
                  <a:pt x="8350491" y="582115"/>
                  <a:pt x="8354423" y="578183"/>
                </a:cubicBezTo>
                <a:cubicBezTo>
                  <a:pt x="8346559" y="574250"/>
                  <a:pt x="8337908" y="568745"/>
                  <a:pt x="8329257" y="566386"/>
                </a:cubicBezTo>
                <a:close/>
                <a:moveTo>
                  <a:pt x="7322632" y="566386"/>
                </a:moveTo>
                <a:cubicBezTo>
                  <a:pt x="7313982" y="568745"/>
                  <a:pt x="7306117" y="574250"/>
                  <a:pt x="7297466" y="578183"/>
                </a:cubicBezTo>
                <a:cubicBezTo>
                  <a:pt x="7301398" y="582114"/>
                  <a:pt x="7306117" y="586833"/>
                  <a:pt x="7310836" y="591552"/>
                </a:cubicBezTo>
                <a:cubicBezTo>
                  <a:pt x="7318699" y="587619"/>
                  <a:pt x="7327350" y="582901"/>
                  <a:pt x="7335215" y="578183"/>
                </a:cubicBezTo>
                <a:cubicBezTo>
                  <a:pt x="7330496" y="574250"/>
                  <a:pt x="7325777" y="566386"/>
                  <a:pt x="7322632" y="566386"/>
                </a:cubicBezTo>
                <a:close/>
                <a:moveTo>
                  <a:pt x="7510588" y="564813"/>
                </a:moveTo>
                <a:cubicBezTo>
                  <a:pt x="7502724" y="568745"/>
                  <a:pt x="7494073" y="573464"/>
                  <a:pt x="7486209" y="578182"/>
                </a:cubicBezTo>
                <a:cubicBezTo>
                  <a:pt x="7490928" y="582114"/>
                  <a:pt x="7495645" y="589979"/>
                  <a:pt x="7498792" y="589979"/>
                </a:cubicBezTo>
                <a:cubicBezTo>
                  <a:pt x="7507442" y="587619"/>
                  <a:pt x="7515308" y="582114"/>
                  <a:pt x="7523958" y="578182"/>
                </a:cubicBezTo>
                <a:cubicBezTo>
                  <a:pt x="7520025" y="574250"/>
                  <a:pt x="7515308" y="569531"/>
                  <a:pt x="7510588" y="564813"/>
                </a:cubicBezTo>
                <a:close/>
                <a:moveTo>
                  <a:pt x="8448794" y="559309"/>
                </a:moveTo>
                <a:cubicBezTo>
                  <a:pt x="8444862" y="567173"/>
                  <a:pt x="8439357" y="575824"/>
                  <a:pt x="8436997" y="584474"/>
                </a:cubicBezTo>
                <a:cubicBezTo>
                  <a:pt x="8436211" y="587619"/>
                  <a:pt x="8444862" y="593125"/>
                  <a:pt x="8448794" y="597057"/>
                </a:cubicBezTo>
                <a:cubicBezTo>
                  <a:pt x="8453513" y="588406"/>
                  <a:pt x="8457445" y="580542"/>
                  <a:pt x="8462163" y="572677"/>
                </a:cubicBezTo>
                <a:cubicBezTo>
                  <a:pt x="8457445" y="567959"/>
                  <a:pt x="8452727" y="563241"/>
                  <a:pt x="8448794" y="559309"/>
                </a:cubicBezTo>
                <a:close/>
                <a:moveTo>
                  <a:pt x="7170066" y="554591"/>
                </a:moveTo>
                <a:cubicBezTo>
                  <a:pt x="7151192" y="573465"/>
                  <a:pt x="7142541" y="582116"/>
                  <a:pt x="7133891" y="590767"/>
                </a:cubicBezTo>
                <a:cubicBezTo>
                  <a:pt x="7076482" y="610427"/>
                  <a:pt x="7011994" y="578184"/>
                  <a:pt x="6957730" y="613573"/>
                </a:cubicBezTo>
                <a:lnTo>
                  <a:pt x="6957730" y="614359"/>
                </a:lnTo>
                <a:cubicBezTo>
                  <a:pt x="6957730" y="618685"/>
                  <a:pt x="6956944" y="623403"/>
                  <a:pt x="6956551" y="627237"/>
                </a:cubicBezTo>
                <a:lnTo>
                  <a:pt x="6957730" y="634806"/>
                </a:lnTo>
                <a:lnTo>
                  <a:pt x="6758764" y="635593"/>
                </a:lnTo>
                <a:cubicBezTo>
                  <a:pt x="6740677" y="636379"/>
                  <a:pt x="6727307" y="650535"/>
                  <a:pt x="6731239" y="672554"/>
                </a:cubicBezTo>
                <a:lnTo>
                  <a:pt x="6637656" y="672554"/>
                </a:lnTo>
                <a:cubicBezTo>
                  <a:pt x="6618781" y="707944"/>
                  <a:pt x="6562158" y="698506"/>
                  <a:pt x="6551149" y="725245"/>
                </a:cubicBezTo>
                <a:cubicBezTo>
                  <a:pt x="6534633" y="765353"/>
                  <a:pt x="6474079" y="724459"/>
                  <a:pt x="6472506" y="780295"/>
                </a:cubicBezTo>
                <a:cubicBezTo>
                  <a:pt x="6493740" y="781868"/>
                  <a:pt x="6511827" y="788159"/>
                  <a:pt x="6528342" y="785013"/>
                </a:cubicBezTo>
                <a:cubicBezTo>
                  <a:pt x="6603053" y="769285"/>
                  <a:pt x="6662035" y="719739"/>
                  <a:pt x="6731239" y="672554"/>
                </a:cubicBezTo>
                <a:cubicBezTo>
                  <a:pt x="6797300" y="672554"/>
                  <a:pt x="6864145" y="674127"/>
                  <a:pt x="6930205" y="671768"/>
                </a:cubicBezTo>
                <a:cubicBezTo>
                  <a:pt x="6939249" y="671374"/>
                  <a:pt x="6947113" y="667639"/>
                  <a:pt x="6952226" y="661250"/>
                </a:cubicBezTo>
                <a:lnTo>
                  <a:pt x="6957730" y="634806"/>
                </a:lnTo>
                <a:lnTo>
                  <a:pt x="6957730" y="634807"/>
                </a:lnTo>
                <a:cubicBezTo>
                  <a:pt x="6976605" y="647390"/>
                  <a:pt x="6997052" y="657613"/>
                  <a:pt x="7016712" y="669409"/>
                </a:cubicBezTo>
                <a:cubicBezTo>
                  <a:pt x="7029295" y="658399"/>
                  <a:pt x="7042665" y="646603"/>
                  <a:pt x="7054461" y="635593"/>
                </a:cubicBezTo>
                <a:cubicBezTo>
                  <a:pt x="7111083" y="631660"/>
                  <a:pt x="7166133" y="641884"/>
                  <a:pt x="7229048" y="624583"/>
                </a:cubicBezTo>
                <a:cubicBezTo>
                  <a:pt x="7204668" y="595485"/>
                  <a:pt x="7187366" y="575039"/>
                  <a:pt x="7170066" y="554591"/>
                </a:cubicBezTo>
                <a:close/>
                <a:moveTo>
                  <a:pt x="0" y="0"/>
                </a:moveTo>
                <a:lnTo>
                  <a:pt x="12192000" y="0"/>
                </a:lnTo>
                <a:lnTo>
                  <a:pt x="12192000" y="818830"/>
                </a:lnTo>
                <a:lnTo>
                  <a:pt x="12067139" y="818830"/>
                </a:lnTo>
                <a:cubicBezTo>
                  <a:pt x="12055343" y="807033"/>
                  <a:pt x="12045906" y="797597"/>
                  <a:pt x="12034895" y="786587"/>
                </a:cubicBezTo>
                <a:cubicBezTo>
                  <a:pt x="12022313" y="796811"/>
                  <a:pt x="12009731" y="807820"/>
                  <a:pt x="11995575" y="819616"/>
                </a:cubicBezTo>
                <a:cubicBezTo>
                  <a:pt x="11982991" y="808607"/>
                  <a:pt x="11970409" y="796811"/>
                  <a:pt x="11956253" y="784228"/>
                </a:cubicBezTo>
                <a:cubicBezTo>
                  <a:pt x="11913786" y="784228"/>
                  <a:pt x="11869746" y="785800"/>
                  <a:pt x="11825707" y="784228"/>
                </a:cubicBezTo>
                <a:cubicBezTo>
                  <a:pt x="11814697" y="783442"/>
                  <a:pt x="11804473" y="776363"/>
                  <a:pt x="11793463" y="771645"/>
                </a:cubicBezTo>
                <a:cubicBezTo>
                  <a:pt x="11784812" y="763780"/>
                  <a:pt x="11775375" y="756703"/>
                  <a:pt x="11766725" y="748838"/>
                </a:cubicBezTo>
                <a:cubicBezTo>
                  <a:pt x="11757287" y="758275"/>
                  <a:pt x="11748637" y="766926"/>
                  <a:pt x="11735267" y="780296"/>
                </a:cubicBezTo>
                <a:lnTo>
                  <a:pt x="11500127" y="780296"/>
                </a:lnTo>
                <a:cubicBezTo>
                  <a:pt x="11491476" y="771645"/>
                  <a:pt x="11482825" y="762995"/>
                  <a:pt x="11467097" y="747265"/>
                </a:cubicBezTo>
                <a:lnTo>
                  <a:pt x="11353851" y="747265"/>
                </a:lnTo>
                <a:cubicBezTo>
                  <a:pt x="11338123" y="731538"/>
                  <a:pt x="11329471" y="722887"/>
                  <a:pt x="11318461" y="711876"/>
                </a:cubicBezTo>
                <a:cubicBezTo>
                  <a:pt x="11305879" y="722887"/>
                  <a:pt x="11292509" y="733896"/>
                  <a:pt x="11277567" y="746479"/>
                </a:cubicBezTo>
                <a:lnTo>
                  <a:pt x="11203643" y="746479"/>
                </a:lnTo>
                <a:cubicBezTo>
                  <a:pt x="11191847" y="735470"/>
                  <a:pt x="11178477" y="722887"/>
                  <a:pt x="11164321" y="709517"/>
                </a:cubicBezTo>
                <a:lnTo>
                  <a:pt x="11072077" y="709517"/>
                </a:lnTo>
                <a:lnTo>
                  <a:pt x="11066903" y="692116"/>
                </a:lnTo>
                <a:cubicBezTo>
                  <a:pt x="11065037" y="686120"/>
                  <a:pt x="11062873" y="681204"/>
                  <a:pt x="11059727" y="680418"/>
                </a:cubicBezTo>
                <a:cubicBezTo>
                  <a:pt x="11036921" y="674912"/>
                  <a:pt x="11032989" y="692214"/>
                  <a:pt x="11034562" y="710303"/>
                </a:cubicBezTo>
                <a:lnTo>
                  <a:pt x="11070624" y="710303"/>
                </a:lnTo>
                <a:lnTo>
                  <a:pt x="11067297" y="733307"/>
                </a:lnTo>
                <a:cubicBezTo>
                  <a:pt x="11063660" y="739205"/>
                  <a:pt x="11056975" y="742154"/>
                  <a:pt x="11045571" y="739401"/>
                </a:cubicBezTo>
                <a:cubicBezTo>
                  <a:pt x="11039280" y="737829"/>
                  <a:pt x="11036921" y="719740"/>
                  <a:pt x="11032989" y="709517"/>
                </a:cubicBezTo>
                <a:lnTo>
                  <a:pt x="10977153" y="709517"/>
                </a:lnTo>
                <a:cubicBezTo>
                  <a:pt x="10963784" y="722887"/>
                  <a:pt x="10950414" y="735470"/>
                  <a:pt x="10933899" y="750412"/>
                </a:cubicBezTo>
                <a:cubicBezTo>
                  <a:pt x="10907947" y="737042"/>
                  <a:pt x="10873345" y="762995"/>
                  <a:pt x="10848965" y="733896"/>
                </a:cubicBezTo>
                <a:cubicBezTo>
                  <a:pt x="10839529" y="713449"/>
                  <a:pt x="10852897" y="684352"/>
                  <a:pt x="10821440" y="674914"/>
                </a:cubicBezTo>
                <a:cubicBezTo>
                  <a:pt x="10810431" y="698507"/>
                  <a:pt x="10799421" y="721314"/>
                  <a:pt x="10784477" y="751985"/>
                </a:cubicBezTo>
                <a:cubicBezTo>
                  <a:pt x="10772682" y="722100"/>
                  <a:pt x="10764031" y="700081"/>
                  <a:pt x="10756168" y="678847"/>
                </a:cubicBezTo>
                <a:cubicBezTo>
                  <a:pt x="10732574" y="691430"/>
                  <a:pt x="10708195" y="704013"/>
                  <a:pt x="10684602" y="715809"/>
                </a:cubicBezTo>
                <a:cubicBezTo>
                  <a:pt x="10666515" y="700081"/>
                  <a:pt x="10652359" y="688284"/>
                  <a:pt x="10637417" y="674914"/>
                </a:cubicBezTo>
                <a:cubicBezTo>
                  <a:pt x="10624834" y="685924"/>
                  <a:pt x="10612251" y="697721"/>
                  <a:pt x="10598882" y="709517"/>
                </a:cubicBezTo>
                <a:cubicBezTo>
                  <a:pt x="10586299" y="698507"/>
                  <a:pt x="10572931" y="686711"/>
                  <a:pt x="10561921" y="676488"/>
                </a:cubicBezTo>
                <a:cubicBezTo>
                  <a:pt x="10542259" y="690642"/>
                  <a:pt x="10523385" y="704798"/>
                  <a:pt x="10503725" y="718954"/>
                </a:cubicBezTo>
                <a:cubicBezTo>
                  <a:pt x="10478559" y="700866"/>
                  <a:pt x="10459685" y="686711"/>
                  <a:pt x="10443957" y="675700"/>
                </a:cubicBezTo>
                <a:lnTo>
                  <a:pt x="10372391" y="675700"/>
                </a:lnTo>
                <a:cubicBezTo>
                  <a:pt x="10355877" y="689070"/>
                  <a:pt x="10343293" y="699293"/>
                  <a:pt x="10337002" y="704013"/>
                </a:cubicBezTo>
                <a:cubicBezTo>
                  <a:pt x="10310263" y="689070"/>
                  <a:pt x="10289817" y="678061"/>
                  <a:pt x="10273301" y="668623"/>
                </a:cubicBezTo>
                <a:cubicBezTo>
                  <a:pt x="10248922" y="685138"/>
                  <a:pt x="10231621" y="696148"/>
                  <a:pt x="10213534" y="708731"/>
                </a:cubicBezTo>
                <a:cubicBezTo>
                  <a:pt x="10203309" y="678847"/>
                  <a:pt x="10196231" y="656827"/>
                  <a:pt x="10186009" y="627729"/>
                </a:cubicBezTo>
                <a:cubicBezTo>
                  <a:pt x="10171066" y="660759"/>
                  <a:pt x="10159270" y="685924"/>
                  <a:pt x="10145901" y="715022"/>
                </a:cubicBezTo>
                <a:cubicBezTo>
                  <a:pt x="10132531" y="685924"/>
                  <a:pt x="10120735" y="660759"/>
                  <a:pt x="10107365" y="632448"/>
                </a:cubicBezTo>
                <a:cubicBezTo>
                  <a:pt x="10093997" y="660759"/>
                  <a:pt x="10082200" y="684352"/>
                  <a:pt x="10070404" y="708731"/>
                </a:cubicBezTo>
                <a:cubicBezTo>
                  <a:pt x="10039733" y="685924"/>
                  <a:pt x="10025578" y="648963"/>
                  <a:pt x="9987829" y="641884"/>
                </a:cubicBezTo>
                <a:cubicBezTo>
                  <a:pt x="9979965" y="665477"/>
                  <a:pt x="9972101" y="686711"/>
                  <a:pt x="9963449" y="711876"/>
                </a:cubicBezTo>
                <a:cubicBezTo>
                  <a:pt x="9947721" y="697721"/>
                  <a:pt x="9934351" y="685924"/>
                  <a:pt x="9920983" y="674129"/>
                </a:cubicBezTo>
                <a:cubicBezTo>
                  <a:pt x="9867506" y="668623"/>
                  <a:pt x="9811669" y="678061"/>
                  <a:pt x="9766843" y="670982"/>
                </a:cubicBezTo>
                <a:cubicBezTo>
                  <a:pt x="9749542" y="652108"/>
                  <a:pt x="9740891" y="643457"/>
                  <a:pt x="9733813" y="636381"/>
                </a:cubicBezTo>
                <a:cubicBezTo>
                  <a:pt x="9714153" y="651322"/>
                  <a:pt x="9696065" y="665477"/>
                  <a:pt x="9678763" y="678061"/>
                </a:cubicBezTo>
                <a:cubicBezTo>
                  <a:pt x="9645734" y="659972"/>
                  <a:pt x="9620569" y="645816"/>
                  <a:pt x="9596975" y="632448"/>
                </a:cubicBezTo>
                <a:cubicBezTo>
                  <a:pt x="9574955" y="645030"/>
                  <a:pt x="9556081" y="655254"/>
                  <a:pt x="9545071" y="661545"/>
                </a:cubicBezTo>
                <a:cubicBezTo>
                  <a:pt x="9504963" y="652894"/>
                  <a:pt x="9497886" y="606497"/>
                  <a:pt x="9457778" y="604136"/>
                </a:cubicBezTo>
                <a:cubicBezTo>
                  <a:pt x="9449127" y="627729"/>
                  <a:pt x="9442049" y="649750"/>
                  <a:pt x="9433399" y="674129"/>
                </a:cubicBezTo>
                <a:cubicBezTo>
                  <a:pt x="9416883" y="658400"/>
                  <a:pt x="9403515" y="646604"/>
                  <a:pt x="9390145" y="634021"/>
                </a:cubicBezTo>
                <a:lnTo>
                  <a:pt x="9337191" y="634021"/>
                </a:lnTo>
                <a:lnTo>
                  <a:pt x="9334788" y="623942"/>
                </a:lnTo>
                <a:cubicBezTo>
                  <a:pt x="9330476" y="604477"/>
                  <a:pt x="9326052" y="592534"/>
                  <a:pt x="9301279" y="611998"/>
                </a:cubicBezTo>
                <a:cubicBezTo>
                  <a:pt x="9306391" y="616323"/>
                  <a:pt x="9311503" y="620649"/>
                  <a:pt x="9317598" y="625859"/>
                </a:cubicBezTo>
                <a:lnTo>
                  <a:pt x="9332940" y="639098"/>
                </a:lnTo>
                <a:lnTo>
                  <a:pt x="9327231" y="660280"/>
                </a:lnTo>
                <a:cubicBezTo>
                  <a:pt x="9315877" y="677716"/>
                  <a:pt x="9293021" y="671375"/>
                  <a:pt x="9270609" y="665477"/>
                </a:cubicBezTo>
                <a:cubicBezTo>
                  <a:pt x="9262744" y="642671"/>
                  <a:pt x="9254881" y="621438"/>
                  <a:pt x="9247016" y="600204"/>
                </a:cubicBezTo>
                <a:lnTo>
                  <a:pt x="9159723" y="600204"/>
                </a:lnTo>
                <a:cubicBezTo>
                  <a:pt x="9146353" y="613573"/>
                  <a:pt x="9137702" y="622224"/>
                  <a:pt x="9127479" y="632448"/>
                </a:cubicBezTo>
                <a:cubicBezTo>
                  <a:pt x="9114896" y="621438"/>
                  <a:pt x="9102313" y="609641"/>
                  <a:pt x="9084226" y="593913"/>
                </a:cubicBezTo>
                <a:cubicBezTo>
                  <a:pt x="9066925" y="648176"/>
                  <a:pt x="8998505" y="626942"/>
                  <a:pt x="8970194" y="670982"/>
                </a:cubicBezTo>
                <a:cubicBezTo>
                  <a:pt x="8967048" y="675700"/>
                  <a:pt x="8947387" y="669409"/>
                  <a:pt x="8934019" y="669409"/>
                </a:cubicBezTo>
                <a:cubicBezTo>
                  <a:pt x="8922222" y="645030"/>
                  <a:pt x="8909639" y="619865"/>
                  <a:pt x="8893911" y="586834"/>
                </a:cubicBezTo>
                <a:cubicBezTo>
                  <a:pt x="8866386" y="602563"/>
                  <a:pt x="8842006" y="615147"/>
                  <a:pt x="8823132" y="626156"/>
                </a:cubicBezTo>
                <a:cubicBezTo>
                  <a:pt x="8801113" y="613573"/>
                  <a:pt x="8780665" y="601776"/>
                  <a:pt x="8764150" y="591554"/>
                </a:cubicBezTo>
                <a:cubicBezTo>
                  <a:pt x="8737412" y="609641"/>
                  <a:pt x="8718538" y="623010"/>
                  <a:pt x="8708314" y="630088"/>
                </a:cubicBezTo>
                <a:lnTo>
                  <a:pt x="8596641" y="630088"/>
                </a:lnTo>
                <a:cubicBezTo>
                  <a:pt x="8577767" y="616719"/>
                  <a:pt x="8565971" y="608069"/>
                  <a:pt x="8555748" y="600204"/>
                </a:cubicBezTo>
                <a:cubicBezTo>
                  <a:pt x="8540806" y="615147"/>
                  <a:pt x="8532155" y="623798"/>
                  <a:pt x="8517999" y="637952"/>
                </a:cubicBezTo>
                <a:cubicBezTo>
                  <a:pt x="8393743" y="633234"/>
                  <a:pt x="8263984" y="629301"/>
                  <a:pt x="8135010" y="623798"/>
                </a:cubicBezTo>
                <a:cubicBezTo>
                  <a:pt x="8133437" y="623798"/>
                  <a:pt x="8131077" y="615932"/>
                  <a:pt x="8129505" y="611214"/>
                </a:cubicBezTo>
                <a:cubicBezTo>
                  <a:pt x="8170399" y="571893"/>
                  <a:pt x="8234886" y="623010"/>
                  <a:pt x="8279712" y="567961"/>
                </a:cubicBezTo>
                <a:cubicBezTo>
                  <a:pt x="8255332" y="564028"/>
                  <a:pt x="8238031" y="558523"/>
                  <a:pt x="8221516" y="559311"/>
                </a:cubicBezTo>
                <a:cubicBezTo>
                  <a:pt x="8200283" y="560490"/>
                  <a:pt x="8178853" y="557541"/>
                  <a:pt x="8157914" y="557639"/>
                </a:cubicBezTo>
                <a:cubicBezTo>
                  <a:pt x="8136975" y="557737"/>
                  <a:pt x="8116528" y="560883"/>
                  <a:pt x="8097261" y="574251"/>
                </a:cubicBezTo>
                <a:lnTo>
                  <a:pt x="8051793" y="595471"/>
                </a:lnTo>
                <a:lnTo>
                  <a:pt x="8039067" y="564028"/>
                </a:lnTo>
                <a:cubicBezTo>
                  <a:pt x="7993453" y="559310"/>
                  <a:pt x="7947841" y="549873"/>
                  <a:pt x="7889646" y="578970"/>
                </a:cubicBezTo>
                <a:cubicBezTo>
                  <a:pt x="7934471" y="601383"/>
                  <a:pt x="7975760" y="597255"/>
                  <a:pt x="8014502" y="596112"/>
                </a:cubicBezTo>
                <a:lnTo>
                  <a:pt x="8049782" y="596992"/>
                </a:lnTo>
                <a:lnTo>
                  <a:pt x="8035921" y="630875"/>
                </a:lnTo>
                <a:lnTo>
                  <a:pt x="7763817" y="630875"/>
                </a:lnTo>
                <a:cubicBezTo>
                  <a:pt x="7738651" y="605709"/>
                  <a:pt x="7716631" y="583689"/>
                  <a:pt x="7691465" y="558523"/>
                </a:cubicBezTo>
                <a:cubicBezTo>
                  <a:pt x="7679669" y="584475"/>
                  <a:pt x="7667872" y="608856"/>
                  <a:pt x="7656077" y="634021"/>
                </a:cubicBezTo>
                <a:cubicBezTo>
                  <a:pt x="7586084" y="634021"/>
                  <a:pt x="7516880" y="633234"/>
                  <a:pt x="7448460" y="634021"/>
                </a:cubicBezTo>
                <a:cubicBezTo>
                  <a:pt x="7437450" y="634021"/>
                  <a:pt x="7426440" y="641099"/>
                  <a:pt x="7416216" y="645030"/>
                </a:cubicBezTo>
                <a:cubicBezTo>
                  <a:pt x="7407565" y="653681"/>
                  <a:pt x="7398915" y="662333"/>
                  <a:pt x="7390264" y="670196"/>
                </a:cubicBezTo>
                <a:cubicBezTo>
                  <a:pt x="7376896" y="659185"/>
                  <a:pt x="7364313" y="647390"/>
                  <a:pt x="7350943" y="635593"/>
                </a:cubicBezTo>
                <a:cubicBezTo>
                  <a:pt x="7341506" y="645030"/>
                  <a:pt x="7332069" y="654467"/>
                  <a:pt x="7317126" y="669409"/>
                </a:cubicBezTo>
                <a:lnTo>
                  <a:pt x="7128384" y="669409"/>
                </a:lnTo>
                <a:cubicBezTo>
                  <a:pt x="7113443" y="684352"/>
                  <a:pt x="7104005" y="693790"/>
                  <a:pt x="7089063" y="708731"/>
                </a:cubicBezTo>
                <a:lnTo>
                  <a:pt x="6896389" y="708731"/>
                </a:lnTo>
                <a:cubicBezTo>
                  <a:pt x="6868864" y="767713"/>
                  <a:pt x="6815387" y="734682"/>
                  <a:pt x="6791008" y="748052"/>
                </a:cubicBezTo>
                <a:cubicBezTo>
                  <a:pt x="6765842" y="766926"/>
                  <a:pt x="6751687" y="777936"/>
                  <a:pt x="6735958" y="789732"/>
                </a:cubicBezTo>
                <a:lnTo>
                  <a:pt x="6631364" y="789732"/>
                </a:lnTo>
                <a:cubicBezTo>
                  <a:pt x="6617994" y="803102"/>
                  <a:pt x="6609343" y="811753"/>
                  <a:pt x="6599119" y="821976"/>
                </a:cubicBezTo>
                <a:lnTo>
                  <a:pt x="6528342" y="821976"/>
                </a:lnTo>
                <a:cubicBezTo>
                  <a:pt x="6489020" y="843210"/>
                  <a:pt x="6475651" y="894327"/>
                  <a:pt x="6426107" y="899046"/>
                </a:cubicBezTo>
                <a:cubicBezTo>
                  <a:pt x="6378135" y="903764"/>
                  <a:pt x="6368697" y="961173"/>
                  <a:pt x="6326230" y="974543"/>
                </a:cubicBezTo>
                <a:cubicBezTo>
                  <a:pt x="6256238" y="959601"/>
                  <a:pt x="6208266" y="1035098"/>
                  <a:pt x="6158721" y="1018583"/>
                </a:cubicBezTo>
                <a:cubicBezTo>
                  <a:pt x="6112322" y="1054759"/>
                  <a:pt x="6077720" y="1080711"/>
                  <a:pt x="6047835" y="1103517"/>
                </a:cubicBezTo>
                <a:cubicBezTo>
                  <a:pt x="6051767" y="1139693"/>
                  <a:pt x="6051767" y="1164073"/>
                  <a:pt x="6058058" y="1187666"/>
                </a:cubicBezTo>
                <a:cubicBezTo>
                  <a:pt x="6060418" y="1193956"/>
                  <a:pt x="6078506" y="1196316"/>
                  <a:pt x="6086370" y="1201034"/>
                </a:cubicBezTo>
                <a:lnTo>
                  <a:pt x="6093274" y="1196432"/>
                </a:lnTo>
                <a:lnTo>
                  <a:pt x="6086481" y="1231741"/>
                </a:lnTo>
                <a:cubicBezTo>
                  <a:pt x="6074279" y="1273582"/>
                  <a:pt x="6048032" y="1329025"/>
                  <a:pt x="6022671" y="1368543"/>
                </a:cubicBezTo>
                <a:lnTo>
                  <a:pt x="6022671" y="1486508"/>
                </a:lnTo>
                <a:cubicBezTo>
                  <a:pt x="6071429" y="1509314"/>
                  <a:pt x="6087157" y="1571442"/>
                  <a:pt x="6154790" y="1579306"/>
                </a:cubicBezTo>
                <a:cubicBezTo>
                  <a:pt x="6196470" y="1584024"/>
                  <a:pt x="6207480" y="1640647"/>
                  <a:pt x="6223208" y="1687047"/>
                </a:cubicBezTo>
                <a:cubicBezTo>
                  <a:pt x="6408804" y="1687047"/>
                  <a:pt x="6595974" y="1687047"/>
                  <a:pt x="6783143" y="1687047"/>
                </a:cubicBezTo>
                <a:cubicBezTo>
                  <a:pt x="6788648" y="1687047"/>
                  <a:pt x="6794940" y="1689406"/>
                  <a:pt x="6799659" y="1692553"/>
                </a:cubicBezTo>
                <a:cubicBezTo>
                  <a:pt x="6805163" y="1695698"/>
                  <a:pt x="6809096" y="1701203"/>
                  <a:pt x="6819319" y="1711427"/>
                </a:cubicBezTo>
                <a:cubicBezTo>
                  <a:pt x="6757979" y="1738164"/>
                  <a:pt x="6694277" y="1712212"/>
                  <a:pt x="6636868" y="1731086"/>
                </a:cubicBezTo>
                <a:cubicBezTo>
                  <a:pt x="6628218" y="1739737"/>
                  <a:pt x="6618781" y="1749175"/>
                  <a:pt x="6603839" y="1764117"/>
                </a:cubicBezTo>
                <a:lnTo>
                  <a:pt x="6339600" y="1764117"/>
                </a:lnTo>
                <a:cubicBezTo>
                  <a:pt x="6323871" y="1779845"/>
                  <a:pt x="6315220" y="1788495"/>
                  <a:pt x="6304997" y="1798718"/>
                </a:cubicBezTo>
                <a:cubicBezTo>
                  <a:pt x="6278257" y="1773555"/>
                  <a:pt x="6252306" y="1749175"/>
                  <a:pt x="6226354" y="1724795"/>
                </a:cubicBezTo>
                <a:lnTo>
                  <a:pt x="6044690" y="1724795"/>
                </a:lnTo>
                <a:cubicBezTo>
                  <a:pt x="5995931" y="1771193"/>
                  <a:pt x="5950318" y="1814447"/>
                  <a:pt x="5903133" y="1859275"/>
                </a:cubicBezTo>
                <a:cubicBezTo>
                  <a:pt x="5917289" y="1886800"/>
                  <a:pt x="5891337" y="1921400"/>
                  <a:pt x="5920435" y="1945782"/>
                </a:cubicBezTo>
                <a:cubicBezTo>
                  <a:pt x="5958969" y="1964656"/>
                  <a:pt x="5977844" y="1935557"/>
                  <a:pt x="5999864" y="1913537"/>
                </a:cubicBezTo>
                <a:cubicBezTo>
                  <a:pt x="6013232" y="1926121"/>
                  <a:pt x="6026602" y="1937917"/>
                  <a:pt x="6039972" y="1950500"/>
                </a:cubicBezTo>
                <a:cubicBezTo>
                  <a:pt x="6070641" y="1950500"/>
                  <a:pt x="6102098" y="1950500"/>
                  <a:pt x="6133556" y="1941062"/>
                </a:cubicBezTo>
                <a:cubicBezTo>
                  <a:pt x="6128837" y="1961510"/>
                  <a:pt x="6124906" y="1981170"/>
                  <a:pt x="6120187" y="1981170"/>
                </a:cubicBezTo>
                <a:cubicBezTo>
                  <a:pt x="6064350" y="1984315"/>
                  <a:pt x="6039184" y="2029928"/>
                  <a:pt x="6003796" y="2061386"/>
                </a:cubicBezTo>
                <a:cubicBezTo>
                  <a:pt x="5973911" y="2062959"/>
                  <a:pt x="5944027" y="2065318"/>
                  <a:pt x="5909424" y="2067677"/>
                </a:cubicBezTo>
                <a:lnTo>
                  <a:pt x="5909424" y="2235973"/>
                </a:lnTo>
                <a:cubicBezTo>
                  <a:pt x="5856734" y="2259566"/>
                  <a:pt x="5809549" y="2280798"/>
                  <a:pt x="5762363" y="2302033"/>
                </a:cubicBezTo>
                <a:cubicBezTo>
                  <a:pt x="5755285" y="2323266"/>
                  <a:pt x="5748207" y="2345287"/>
                  <a:pt x="5741129" y="2365732"/>
                </a:cubicBezTo>
                <a:cubicBezTo>
                  <a:pt x="5699448" y="2365732"/>
                  <a:pt x="5661701" y="2365732"/>
                  <a:pt x="5624738" y="2365732"/>
                </a:cubicBezTo>
                <a:cubicBezTo>
                  <a:pt x="5611370" y="2378315"/>
                  <a:pt x="5598000" y="2390898"/>
                  <a:pt x="5584630" y="2403480"/>
                </a:cubicBezTo>
                <a:cubicBezTo>
                  <a:pt x="5559465" y="2403480"/>
                  <a:pt x="5535086" y="2403480"/>
                  <a:pt x="5492619" y="2403480"/>
                </a:cubicBezTo>
                <a:cubicBezTo>
                  <a:pt x="5478463" y="2423928"/>
                  <a:pt x="5456442" y="2453813"/>
                  <a:pt x="5439141" y="2478192"/>
                </a:cubicBezTo>
                <a:cubicBezTo>
                  <a:pt x="5417122" y="2480551"/>
                  <a:pt x="5405325" y="2482123"/>
                  <a:pt x="5393529" y="2482911"/>
                </a:cubicBezTo>
                <a:cubicBezTo>
                  <a:pt x="5376228" y="2500211"/>
                  <a:pt x="5358140" y="2518299"/>
                  <a:pt x="5340839" y="2535602"/>
                </a:cubicBezTo>
                <a:cubicBezTo>
                  <a:pt x="5327474" y="2548970"/>
                  <a:pt x="5314101" y="2561552"/>
                  <a:pt x="5301519" y="2575708"/>
                </a:cubicBezTo>
                <a:cubicBezTo>
                  <a:pt x="5285794" y="2593009"/>
                  <a:pt x="5262983" y="2604807"/>
                  <a:pt x="5262983" y="2634690"/>
                </a:cubicBezTo>
                <a:cubicBezTo>
                  <a:pt x="5262983" y="2649632"/>
                  <a:pt x="5244895" y="2663787"/>
                  <a:pt x="5235458" y="2678730"/>
                </a:cubicBezTo>
                <a:cubicBezTo>
                  <a:pt x="5220515" y="2702323"/>
                  <a:pt x="5223665" y="2723556"/>
                  <a:pt x="5244895" y="2742430"/>
                </a:cubicBezTo>
                <a:cubicBezTo>
                  <a:pt x="5269278" y="2711760"/>
                  <a:pt x="5301519" y="2699177"/>
                  <a:pt x="5333760" y="2696818"/>
                </a:cubicBezTo>
                <a:cubicBezTo>
                  <a:pt x="5371509" y="2659857"/>
                  <a:pt x="5406112" y="2637049"/>
                  <a:pt x="5448579" y="2609525"/>
                </a:cubicBezTo>
                <a:cubicBezTo>
                  <a:pt x="5450152" y="2604019"/>
                  <a:pt x="5454084" y="2587504"/>
                  <a:pt x="5459589" y="2561552"/>
                </a:cubicBezTo>
                <a:cubicBezTo>
                  <a:pt x="5510706" y="2548183"/>
                  <a:pt x="5566544" y="2557621"/>
                  <a:pt x="5622379" y="2554475"/>
                </a:cubicBezTo>
                <a:cubicBezTo>
                  <a:pt x="5634962" y="2543465"/>
                  <a:pt x="5648331" y="2530095"/>
                  <a:pt x="5662486" y="2517513"/>
                </a:cubicBezTo>
                <a:cubicBezTo>
                  <a:pt x="5704953" y="2517513"/>
                  <a:pt x="5746635" y="2517513"/>
                  <a:pt x="5830782" y="2517513"/>
                </a:cubicBezTo>
                <a:cubicBezTo>
                  <a:pt x="5742702" y="2560766"/>
                  <a:pt x="5695517" y="2589078"/>
                  <a:pt x="5645185" y="2608738"/>
                </a:cubicBezTo>
                <a:cubicBezTo>
                  <a:pt x="5593281" y="2629185"/>
                  <a:pt x="5551601" y="2661428"/>
                  <a:pt x="5515424" y="2702323"/>
                </a:cubicBezTo>
                <a:cubicBezTo>
                  <a:pt x="5474531" y="2710187"/>
                  <a:pt x="5426559" y="2695244"/>
                  <a:pt x="5399821" y="2742430"/>
                </a:cubicBezTo>
                <a:cubicBezTo>
                  <a:pt x="5381732" y="2728275"/>
                  <a:pt x="5362858" y="2714906"/>
                  <a:pt x="5334550" y="2697605"/>
                </a:cubicBezTo>
                <a:cubicBezTo>
                  <a:pt x="5334550" y="2755014"/>
                  <a:pt x="5281860" y="2767596"/>
                  <a:pt x="5265344" y="2807704"/>
                </a:cubicBezTo>
                <a:cubicBezTo>
                  <a:pt x="5265344" y="2826578"/>
                  <a:pt x="5271633" y="2847812"/>
                  <a:pt x="5264556" y="2863540"/>
                </a:cubicBezTo>
                <a:cubicBezTo>
                  <a:pt x="5242535" y="2910724"/>
                  <a:pt x="5215010" y="2956337"/>
                  <a:pt x="5194567" y="2994086"/>
                </a:cubicBezTo>
                <a:lnTo>
                  <a:pt x="5194567" y="3118342"/>
                </a:lnTo>
                <a:cubicBezTo>
                  <a:pt x="5256696" y="3152944"/>
                  <a:pt x="5318035" y="3185975"/>
                  <a:pt x="5380159" y="3220577"/>
                </a:cubicBezTo>
                <a:lnTo>
                  <a:pt x="5380159" y="3288210"/>
                </a:lnTo>
                <a:cubicBezTo>
                  <a:pt x="5388024" y="3311802"/>
                  <a:pt x="5431278" y="3317308"/>
                  <a:pt x="5399034" y="3347978"/>
                </a:cubicBezTo>
                <a:lnTo>
                  <a:pt x="5321968" y="3347978"/>
                </a:lnTo>
                <a:cubicBezTo>
                  <a:pt x="5317249" y="3376683"/>
                  <a:pt x="5303682" y="3399686"/>
                  <a:pt x="5286479" y="3420428"/>
                </a:cubicBezTo>
                <a:lnTo>
                  <a:pt x="5278134" y="3429001"/>
                </a:lnTo>
                <a:lnTo>
                  <a:pt x="0" y="3429001"/>
                </a:ln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36" name="Freihandform: Form 35">
            <a:extLst>
              <a:ext uri="{FF2B5EF4-FFF2-40B4-BE49-F238E27FC236}">
                <a16:creationId xmlns:a16="http://schemas.microsoft.com/office/drawing/2014/main" id="{6F733802-8236-6D3F-2231-EF49BE3B5F0E}"/>
              </a:ext>
            </a:extLst>
          </p:cNvPr>
          <p:cNvSpPr/>
          <p:nvPr userDrawn="1"/>
        </p:nvSpPr>
        <p:spPr>
          <a:xfrm>
            <a:off x="4969647" y="554592"/>
            <a:ext cx="7222353" cy="6303409"/>
          </a:xfrm>
          <a:custGeom>
            <a:avLst/>
            <a:gdLst>
              <a:gd name="connsiteX0" fmla="*/ 1057743 w 7222353"/>
              <a:gd name="connsiteY0" fmla="*/ 5106261 h 6303409"/>
              <a:gd name="connsiteX1" fmla="*/ 1044373 w 7222353"/>
              <a:gd name="connsiteY1" fmla="*/ 5119631 h 6303409"/>
              <a:gd name="connsiteX2" fmla="*/ 1069540 w 7222353"/>
              <a:gd name="connsiteY2" fmla="*/ 5131427 h 6303409"/>
              <a:gd name="connsiteX3" fmla="*/ 1082123 w 7222353"/>
              <a:gd name="connsiteY3" fmla="*/ 5119631 h 6303409"/>
              <a:gd name="connsiteX4" fmla="*/ 1057743 w 7222353"/>
              <a:gd name="connsiteY4" fmla="*/ 5106261 h 6303409"/>
              <a:gd name="connsiteX5" fmla="*/ 950004 w 7222353"/>
              <a:gd name="connsiteY5" fmla="*/ 5101542 h 6303409"/>
              <a:gd name="connsiteX6" fmla="*/ 938206 w 7222353"/>
              <a:gd name="connsiteY6" fmla="*/ 5113338 h 6303409"/>
              <a:gd name="connsiteX7" fmla="*/ 951575 w 7222353"/>
              <a:gd name="connsiteY7" fmla="*/ 5136932 h 6303409"/>
              <a:gd name="connsiteX8" fmla="*/ 1001097 w 7222353"/>
              <a:gd name="connsiteY8" fmla="*/ 5130742 h 6303409"/>
              <a:gd name="connsiteX9" fmla="*/ 1001121 w 7222353"/>
              <a:gd name="connsiteY9" fmla="*/ 5131427 h 6303409"/>
              <a:gd name="connsiteX10" fmla="*/ 1001907 w 7222353"/>
              <a:gd name="connsiteY10" fmla="*/ 5130640 h 6303409"/>
              <a:gd name="connsiteX11" fmla="*/ 1001097 w 7222353"/>
              <a:gd name="connsiteY11" fmla="*/ 5130742 h 6303409"/>
              <a:gd name="connsiteX12" fmla="*/ 1000335 w 7222353"/>
              <a:gd name="connsiteY12" fmla="*/ 5107834 h 6303409"/>
              <a:gd name="connsiteX13" fmla="*/ 950004 w 7222353"/>
              <a:gd name="connsiteY13" fmla="*/ 5101542 h 6303409"/>
              <a:gd name="connsiteX14" fmla="*/ 1106502 w 7222353"/>
              <a:gd name="connsiteY14" fmla="*/ 5030765 h 6303409"/>
              <a:gd name="connsiteX15" fmla="*/ 1082123 w 7222353"/>
              <a:gd name="connsiteY15" fmla="*/ 5044134 h 6303409"/>
              <a:gd name="connsiteX16" fmla="*/ 1094705 w 7222353"/>
              <a:gd name="connsiteY16" fmla="*/ 5055930 h 6303409"/>
              <a:gd name="connsiteX17" fmla="*/ 1119871 w 7222353"/>
              <a:gd name="connsiteY17" fmla="*/ 5044134 h 6303409"/>
              <a:gd name="connsiteX18" fmla="*/ 1106502 w 7222353"/>
              <a:gd name="connsiteY18" fmla="*/ 5030765 h 6303409"/>
              <a:gd name="connsiteX19" fmla="*/ 780134 w 7222353"/>
              <a:gd name="connsiteY19" fmla="*/ 5024079 h 6303409"/>
              <a:gd name="connsiteX20" fmla="*/ 742386 w 7222353"/>
              <a:gd name="connsiteY20" fmla="*/ 5044134 h 6303409"/>
              <a:gd name="connsiteX21" fmla="*/ 817883 w 7222353"/>
              <a:gd name="connsiteY21" fmla="*/ 5044134 h 6303409"/>
              <a:gd name="connsiteX22" fmla="*/ 780134 w 7222353"/>
              <a:gd name="connsiteY22" fmla="*/ 5024079 h 6303409"/>
              <a:gd name="connsiteX23" fmla="*/ 344456 w 7222353"/>
              <a:gd name="connsiteY23" fmla="*/ 5022113 h 6303409"/>
              <a:gd name="connsiteX24" fmla="*/ 344456 w 7222353"/>
              <a:gd name="connsiteY24" fmla="*/ 5023686 h 6303409"/>
              <a:gd name="connsiteX25" fmla="*/ 342655 w 7222353"/>
              <a:gd name="connsiteY25" fmla="*/ 5023933 h 6303409"/>
              <a:gd name="connsiteX26" fmla="*/ 1245699 w 7222353"/>
              <a:gd name="connsiteY26" fmla="*/ 4994588 h 6303409"/>
              <a:gd name="connsiteX27" fmla="*/ 1233116 w 7222353"/>
              <a:gd name="connsiteY27" fmla="*/ 5006385 h 6303409"/>
              <a:gd name="connsiteX28" fmla="*/ 1257495 w 7222353"/>
              <a:gd name="connsiteY28" fmla="*/ 5019755 h 6303409"/>
              <a:gd name="connsiteX29" fmla="*/ 1270865 w 7222353"/>
              <a:gd name="connsiteY29" fmla="*/ 5006385 h 6303409"/>
              <a:gd name="connsiteX30" fmla="*/ 1245699 w 7222353"/>
              <a:gd name="connsiteY30" fmla="*/ 4994588 h 6303409"/>
              <a:gd name="connsiteX31" fmla="*/ 688909 w 7222353"/>
              <a:gd name="connsiteY31" fmla="*/ 4990657 h 6303409"/>
              <a:gd name="connsiteX32" fmla="*/ 677115 w 7222353"/>
              <a:gd name="connsiteY32" fmla="*/ 5020541 h 6303409"/>
              <a:gd name="connsiteX33" fmla="*/ 644084 w 7222353"/>
              <a:gd name="connsiteY33" fmla="*/ 5059076 h 6303409"/>
              <a:gd name="connsiteX34" fmla="*/ 655879 w 7222353"/>
              <a:gd name="connsiteY34" fmla="*/ 5029192 h 6303409"/>
              <a:gd name="connsiteX35" fmla="*/ 688909 w 7222353"/>
              <a:gd name="connsiteY35" fmla="*/ 4990657 h 6303409"/>
              <a:gd name="connsiteX36" fmla="*/ 157287 w 7222353"/>
              <a:gd name="connsiteY36" fmla="*/ 4989083 h 6303409"/>
              <a:gd name="connsiteX37" fmla="*/ 267386 w 7222353"/>
              <a:gd name="connsiteY37" fmla="*/ 4989083 h 6303409"/>
              <a:gd name="connsiteX38" fmla="*/ 314391 w 7222353"/>
              <a:gd name="connsiteY38" fmla="*/ 5027790 h 6303409"/>
              <a:gd name="connsiteX39" fmla="*/ 342655 w 7222353"/>
              <a:gd name="connsiteY39" fmla="*/ 5023933 h 6303409"/>
              <a:gd name="connsiteX40" fmla="*/ 324912 w 7222353"/>
              <a:gd name="connsiteY40" fmla="*/ 5041819 h 6303409"/>
              <a:gd name="connsiteX41" fmla="*/ 195035 w 7222353"/>
              <a:gd name="connsiteY41" fmla="*/ 5053570 h 6303409"/>
              <a:gd name="connsiteX42" fmla="*/ 124256 w 7222353"/>
              <a:gd name="connsiteY42" fmla="*/ 5158164 h 6303409"/>
              <a:gd name="connsiteX43" fmla="*/ 102237 w 7222353"/>
              <a:gd name="connsiteY43" fmla="*/ 5096823 h 6303409"/>
              <a:gd name="connsiteX44" fmla="*/ 157287 w 7222353"/>
              <a:gd name="connsiteY44" fmla="*/ 4989083 h 6303409"/>
              <a:gd name="connsiteX45" fmla="*/ 1176494 w 7222353"/>
              <a:gd name="connsiteY45" fmla="*/ 4987511 h 6303409"/>
              <a:gd name="connsiteX46" fmla="*/ 1164697 w 7222353"/>
              <a:gd name="connsiteY46" fmla="*/ 5000094 h 6303409"/>
              <a:gd name="connsiteX47" fmla="*/ 1176494 w 7222353"/>
              <a:gd name="connsiteY47" fmla="*/ 5025259 h 6303409"/>
              <a:gd name="connsiteX48" fmla="*/ 1188290 w 7222353"/>
              <a:gd name="connsiteY48" fmla="*/ 5012676 h 6303409"/>
              <a:gd name="connsiteX49" fmla="*/ 1176494 w 7222353"/>
              <a:gd name="connsiteY49" fmla="*/ 4987511 h 6303409"/>
              <a:gd name="connsiteX50" fmla="*/ 874506 w 7222353"/>
              <a:gd name="connsiteY50" fmla="*/ 4987511 h 6303409"/>
              <a:gd name="connsiteX51" fmla="*/ 861138 w 7222353"/>
              <a:gd name="connsiteY51" fmla="*/ 5000880 h 6303409"/>
              <a:gd name="connsiteX52" fmla="*/ 874506 w 7222353"/>
              <a:gd name="connsiteY52" fmla="*/ 5025259 h 6303409"/>
              <a:gd name="connsiteX53" fmla="*/ 886303 w 7222353"/>
              <a:gd name="connsiteY53" fmla="*/ 5012676 h 6303409"/>
              <a:gd name="connsiteX54" fmla="*/ 874506 w 7222353"/>
              <a:gd name="connsiteY54" fmla="*/ 4987511 h 6303409"/>
              <a:gd name="connsiteX55" fmla="*/ 1321982 w 7222353"/>
              <a:gd name="connsiteY55" fmla="*/ 4955267 h 6303409"/>
              <a:gd name="connsiteX56" fmla="*/ 1308613 w 7222353"/>
              <a:gd name="connsiteY56" fmla="*/ 4968636 h 6303409"/>
              <a:gd name="connsiteX57" fmla="*/ 1333779 w 7222353"/>
              <a:gd name="connsiteY57" fmla="*/ 4980433 h 6303409"/>
              <a:gd name="connsiteX58" fmla="*/ 1346361 w 7222353"/>
              <a:gd name="connsiteY58" fmla="*/ 4968636 h 6303409"/>
              <a:gd name="connsiteX59" fmla="*/ 1321982 w 7222353"/>
              <a:gd name="connsiteY59" fmla="*/ 4955267 h 6303409"/>
              <a:gd name="connsiteX60" fmla="*/ 1931463 w 7222353"/>
              <a:gd name="connsiteY60" fmla="*/ 4874265 h 6303409"/>
              <a:gd name="connsiteX61" fmla="*/ 1918093 w 7222353"/>
              <a:gd name="connsiteY61" fmla="*/ 4898645 h 6303409"/>
              <a:gd name="connsiteX62" fmla="*/ 1931463 w 7222353"/>
              <a:gd name="connsiteY62" fmla="*/ 4912014 h 6303409"/>
              <a:gd name="connsiteX63" fmla="*/ 1943259 w 7222353"/>
              <a:gd name="connsiteY63" fmla="*/ 4886848 h 6303409"/>
              <a:gd name="connsiteX64" fmla="*/ 1931463 w 7222353"/>
              <a:gd name="connsiteY64" fmla="*/ 4874265 h 6303409"/>
              <a:gd name="connsiteX65" fmla="*/ 1736429 w 7222353"/>
              <a:gd name="connsiteY65" fmla="*/ 4843595 h 6303409"/>
              <a:gd name="connsiteX66" fmla="*/ 1723846 w 7222353"/>
              <a:gd name="connsiteY66" fmla="*/ 4855392 h 6303409"/>
              <a:gd name="connsiteX67" fmla="*/ 1748225 w 7222353"/>
              <a:gd name="connsiteY67" fmla="*/ 4868761 h 6303409"/>
              <a:gd name="connsiteX68" fmla="*/ 1761594 w 7222353"/>
              <a:gd name="connsiteY68" fmla="*/ 4855392 h 6303409"/>
              <a:gd name="connsiteX69" fmla="*/ 1736429 w 7222353"/>
              <a:gd name="connsiteY69" fmla="*/ 4843595 h 6303409"/>
              <a:gd name="connsiteX70" fmla="*/ 2103887 w 7222353"/>
              <a:gd name="connsiteY70" fmla="*/ 4840842 h 6303409"/>
              <a:gd name="connsiteX71" fmla="*/ 2069086 w 7222353"/>
              <a:gd name="connsiteY71" fmla="*/ 4862469 h 6303409"/>
              <a:gd name="connsiteX72" fmla="*/ 2187050 w 7222353"/>
              <a:gd name="connsiteY72" fmla="*/ 4852245 h 6303409"/>
              <a:gd name="connsiteX73" fmla="*/ 2103887 w 7222353"/>
              <a:gd name="connsiteY73" fmla="*/ 4840842 h 6303409"/>
              <a:gd name="connsiteX74" fmla="*/ 2389555 w 7222353"/>
              <a:gd name="connsiteY74" fmla="*/ 4798277 h 6303409"/>
              <a:gd name="connsiteX75" fmla="*/ 2345910 w 7222353"/>
              <a:gd name="connsiteY75" fmla="*/ 4800342 h 6303409"/>
              <a:gd name="connsiteX76" fmla="*/ 2281424 w 7222353"/>
              <a:gd name="connsiteY76" fmla="*/ 4859324 h 6303409"/>
              <a:gd name="connsiteX77" fmla="*/ 2217721 w 7222353"/>
              <a:gd name="connsiteY77" fmla="*/ 4860110 h 6303409"/>
              <a:gd name="connsiteX78" fmla="*/ 2236596 w 7222353"/>
              <a:gd name="connsiteY78" fmla="*/ 4873479 h 6303409"/>
              <a:gd name="connsiteX79" fmla="*/ 2383658 w 7222353"/>
              <a:gd name="connsiteY79" fmla="*/ 4873479 h 6303409"/>
              <a:gd name="connsiteX80" fmla="*/ 2384444 w 7222353"/>
              <a:gd name="connsiteY80" fmla="*/ 4874265 h 6303409"/>
              <a:gd name="connsiteX81" fmla="*/ 2433202 w 7222353"/>
              <a:gd name="connsiteY81" fmla="*/ 4809779 h 6303409"/>
              <a:gd name="connsiteX82" fmla="*/ 2389555 w 7222353"/>
              <a:gd name="connsiteY82" fmla="*/ 4798277 h 6303409"/>
              <a:gd name="connsiteX83" fmla="*/ 1157620 w 7222353"/>
              <a:gd name="connsiteY83" fmla="*/ 4157044 h 6303409"/>
              <a:gd name="connsiteX84" fmla="*/ 1157620 w 7222353"/>
              <a:gd name="connsiteY84" fmla="*/ 4194793 h 6303409"/>
              <a:gd name="connsiteX85" fmla="*/ 1127736 w 7222353"/>
              <a:gd name="connsiteY85" fmla="*/ 4169627 h 6303409"/>
              <a:gd name="connsiteX86" fmla="*/ 1157620 w 7222353"/>
              <a:gd name="connsiteY86" fmla="*/ 4157044 h 6303409"/>
              <a:gd name="connsiteX87" fmla="*/ 6952792 w 7222353"/>
              <a:gd name="connsiteY87" fmla="*/ 4120869 h 6303409"/>
              <a:gd name="connsiteX88" fmla="*/ 6913470 w 7222353"/>
              <a:gd name="connsiteY88" fmla="*/ 4153899 h 6303409"/>
              <a:gd name="connsiteX89" fmla="*/ 6875722 w 7222353"/>
              <a:gd name="connsiteY89" fmla="*/ 4124015 h 6303409"/>
              <a:gd name="connsiteX90" fmla="*/ 6826176 w 7222353"/>
              <a:gd name="connsiteY90" fmla="*/ 4161763 h 6303409"/>
              <a:gd name="connsiteX91" fmla="*/ 6720796 w 7222353"/>
              <a:gd name="connsiteY91" fmla="*/ 4161763 h 6303409"/>
              <a:gd name="connsiteX92" fmla="*/ 6689340 w 7222353"/>
              <a:gd name="connsiteY92" fmla="*/ 4193220 h 6303409"/>
              <a:gd name="connsiteX93" fmla="*/ 6458130 w 7222353"/>
              <a:gd name="connsiteY93" fmla="*/ 4197939 h 6303409"/>
              <a:gd name="connsiteX94" fmla="*/ 6422740 w 7222353"/>
              <a:gd name="connsiteY94" fmla="*/ 4233328 h 6303409"/>
              <a:gd name="connsiteX95" fmla="*/ 6423528 w 7222353"/>
              <a:gd name="connsiteY95" fmla="*/ 4232542 h 6303409"/>
              <a:gd name="connsiteX96" fmla="*/ 6197823 w 7222353"/>
              <a:gd name="connsiteY96" fmla="*/ 4232542 h 6303409"/>
              <a:gd name="connsiteX97" fmla="*/ 6156142 w 7222353"/>
              <a:gd name="connsiteY97" fmla="*/ 4271077 h 6303409"/>
              <a:gd name="connsiteX98" fmla="*/ 6096374 w 7222353"/>
              <a:gd name="connsiteY98" fmla="*/ 4271077 h 6303409"/>
              <a:gd name="connsiteX99" fmla="*/ 5987848 w 7222353"/>
              <a:gd name="connsiteY99" fmla="*/ 4326913 h 6303409"/>
              <a:gd name="connsiteX100" fmla="*/ 6046830 w 7222353"/>
              <a:gd name="connsiteY100" fmla="*/ 4378817 h 6303409"/>
              <a:gd name="connsiteX101" fmla="*/ 6091656 w 7222353"/>
              <a:gd name="connsiteY101" fmla="*/ 4341069 h 6303409"/>
              <a:gd name="connsiteX102" fmla="*/ 6240290 w 7222353"/>
              <a:gd name="connsiteY102" fmla="*/ 4341069 h 6303409"/>
              <a:gd name="connsiteX103" fmla="*/ 6273320 w 7222353"/>
              <a:gd name="connsiteY103" fmla="*/ 4308038 h 6303409"/>
              <a:gd name="connsiteX104" fmla="*/ 6461276 w 7222353"/>
              <a:gd name="connsiteY104" fmla="*/ 4308038 h 6303409"/>
              <a:gd name="connsiteX105" fmla="*/ 6502956 w 7222353"/>
              <a:gd name="connsiteY105" fmla="*/ 4269504 h 6303409"/>
              <a:gd name="connsiteX106" fmla="*/ 6612269 w 7222353"/>
              <a:gd name="connsiteY106" fmla="*/ 4269504 h 6303409"/>
              <a:gd name="connsiteX107" fmla="*/ 6656309 w 7222353"/>
              <a:gd name="connsiteY107" fmla="*/ 4230969 h 6303409"/>
              <a:gd name="connsiteX108" fmla="*/ 6878868 w 7222353"/>
              <a:gd name="connsiteY108" fmla="*/ 4230969 h 6303409"/>
              <a:gd name="connsiteX109" fmla="*/ 6894596 w 7222353"/>
              <a:gd name="connsiteY109" fmla="*/ 4215240 h 6303409"/>
              <a:gd name="connsiteX110" fmla="*/ 6920548 w 7222353"/>
              <a:gd name="connsiteY110" fmla="*/ 4201085 h 6303409"/>
              <a:gd name="connsiteX111" fmla="*/ 6950432 w 7222353"/>
              <a:gd name="connsiteY111" fmla="*/ 4230969 h 6303409"/>
              <a:gd name="connsiteX112" fmla="*/ 6997618 w 7222353"/>
              <a:gd name="connsiteY112" fmla="*/ 4190861 h 6303409"/>
              <a:gd name="connsiteX113" fmla="*/ 7154117 w 7222353"/>
              <a:gd name="connsiteY113" fmla="*/ 4190861 h 6303409"/>
              <a:gd name="connsiteX114" fmla="*/ 7101426 w 7222353"/>
              <a:gd name="connsiteY114" fmla="*/ 4120869 h 6303409"/>
              <a:gd name="connsiteX115" fmla="*/ 1195368 w 7222353"/>
              <a:gd name="connsiteY115" fmla="*/ 4119296 h 6303409"/>
              <a:gd name="connsiteX116" fmla="*/ 1157620 w 7222353"/>
              <a:gd name="connsiteY116" fmla="*/ 4157044 h 6303409"/>
              <a:gd name="connsiteX117" fmla="*/ 1195368 w 7222353"/>
              <a:gd name="connsiteY117" fmla="*/ 4119296 h 6303409"/>
              <a:gd name="connsiteX118" fmla="*/ 5817193 w 7222353"/>
              <a:gd name="connsiteY118" fmla="*/ 4117723 h 6303409"/>
              <a:gd name="connsiteX119" fmla="*/ 5817193 w 7222353"/>
              <a:gd name="connsiteY119" fmla="*/ 4119296 h 6303409"/>
              <a:gd name="connsiteX120" fmla="*/ 4800344 w 7222353"/>
              <a:gd name="connsiteY120" fmla="*/ 4120083 h 6303409"/>
              <a:gd name="connsiteX121" fmla="*/ 4787760 w 7222353"/>
              <a:gd name="connsiteY121" fmla="*/ 4144462 h 6303409"/>
              <a:gd name="connsiteX122" fmla="*/ 4803490 w 7222353"/>
              <a:gd name="connsiteY122" fmla="*/ 4156259 h 6303409"/>
              <a:gd name="connsiteX123" fmla="*/ 4914376 w 7222353"/>
              <a:gd name="connsiteY123" fmla="*/ 4156259 h 6303409"/>
              <a:gd name="connsiteX124" fmla="*/ 5074020 w 7222353"/>
              <a:gd name="connsiteY124" fmla="*/ 4230969 h 6303409"/>
              <a:gd name="connsiteX125" fmla="*/ 5105478 w 7222353"/>
              <a:gd name="connsiteY125" fmla="*/ 4226251 h 6303409"/>
              <a:gd name="connsiteX126" fmla="*/ 5143226 w 7222353"/>
              <a:gd name="connsiteY126" fmla="*/ 4197153 h 6303409"/>
              <a:gd name="connsiteX127" fmla="*/ 5174682 w 7222353"/>
              <a:gd name="connsiteY127" fmla="*/ 4228610 h 6303409"/>
              <a:gd name="connsiteX128" fmla="*/ 5294219 w 7222353"/>
              <a:gd name="connsiteY128" fmla="*/ 4234901 h 6303409"/>
              <a:gd name="connsiteX129" fmla="*/ 5328036 w 7222353"/>
              <a:gd name="connsiteY129" fmla="*/ 4268718 h 6303409"/>
              <a:gd name="connsiteX130" fmla="*/ 5515206 w 7222353"/>
              <a:gd name="connsiteY130" fmla="*/ 4268718 h 6303409"/>
              <a:gd name="connsiteX131" fmla="*/ 5556885 w 7222353"/>
              <a:gd name="connsiteY131" fmla="*/ 4307252 h 6303409"/>
              <a:gd name="connsiteX132" fmla="*/ 5667772 w 7222353"/>
              <a:gd name="connsiteY132" fmla="*/ 4307252 h 6303409"/>
              <a:gd name="connsiteX133" fmla="*/ 5716530 w 7222353"/>
              <a:gd name="connsiteY133" fmla="*/ 4351292 h 6303409"/>
              <a:gd name="connsiteX134" fmla="*/ 5782590 w 7222353"/>
              <a:gd name="connsiteY134" fmla="*/ 4314331 h 6303409"/>
              <a:gd name="connsiteX135" fmla="*/ 5854942 w 7222353"/>
              <a:gd name="connsiteY135" fmla="*/ 4356798 h 6303409"/>
              <a:gd name="connsiteX136" fmla="*/ 5990992 w 7222353"/>
              <a:gd name="connsiteY136" fmla="*/ 4191647 h 6303409"/>
              <a:gd name="connsiteX137" fmla="*/ 6121540 w 7222353"/>
              <a:gd name="connsiteY137" fmla="*/ 4191647 h 6303409"/>
              <a:gd name="connsiteX138" fmla="*/ 6162434 w 7222353"/>
              <a:gd name="connsiteY138" fmla="*/ 4156259 h 6303409"/>
              <a:gd name="connsiteX139" fmla="*/ 6329156 w 7222353"/>
              <a:gd name="connsiteY139" fmla="*/ 4117723 h 6303409"/>
              <a:gd name="connsiteX140" fmla="*/ 6046042 w 7222353"/>
              <a:gd name="connsiteY140" fmla="*/ 4117723 h 6303409"/>
              <a:gd name="connsiteX141" fmla="*/ 6010654 w 7222353"/>
              <a:gd name="connsiteY141" fmla="*/ 4153113 h 6303409"/>
              <a:gd name="connsiteX142" fmla="*/ 5969760 w 7222353"/>
              <a:gd name="connsiteY142" fmla="*/ 4119296 h 6303409"/>
              <a:gd name="connsiteX143" fmla="*/ 5895836 w 7222353"/>
              <a:gd name="connsiteY143" fmla="*/ 4119296 h 6303409"/>
              <a:gd name="connsiteX144" fmla="*/ 5857300 w 7222353"/>
              <a:gd name="connsiteY144" fmla="*/ 4154686 h 6303409"/>
              <a:gd name="connsiteX145" fmla="*/ 5817193 w 7222353"/>
              <a:gd name="connsiteY145" fmla="*/ 4117723 h 6303409"/>
              <a:gd name="connsiteX146" fmla="*/ 1279515 w 7222353"/>
              <a:gd name="connsiteY146" fmla="*/ 4019419 h 6303409"/>
              <a:gd name="connsiteX147" fmla="*/ 1307040 w 7222353"/>
              <a:gd name="connsiteY147" fmla="*/ 4078402 h 6303409"/>
              <a:gd name="connsiteX148" fmla="*/ 1296817 w 7222353"/>
              <a:gd name="connsiteY148" fmla="*/ 4114577 h 6303409"/>
              <a:gd name="connsiteX149" fmla="*/ 1194582 w 7222353"/>
              <a:gd name="connsiteY149" fmla="*/ 4114577 h 6303409"/>
              <a:gd name="connsiteX150" fmla="*/ 1279515 w 7222353"/>
              <a:gd name="connsiteY150" fmla="*/ 4019419 h 6303409"/>
              <a:gd name="connsiteX151" fmla="*/ 445151 w 7222353"/>
              <a:gd name="connsiteY151" fmla="*/ 3000971 h 6303409"/>
              <a:gd name="connsiteX152" fmla="*/ 443963 w 7222353"/>
              <a:gd name="connsiteY152" fmla="*/ 3002159 h 6303409"/>
              <a:gd name="connsiteX153" fmla="*/ 442561 w 7222353"/>
              <a:gd name="connsiteY153" fmla="*/ 3003559 h 6303409"/>
              <a:gd name="connsiteX154" fmla="*/ 453769 w 7222353"/>
              <a:gd name="connsiteY154" fmla="*/ 2992352 h 6303409"/>
              <a:gd name="connsiteX155" fmla="*/ 445151 w 7222353"/>
              <a:gd name="connsiteY155" fmla="*/ 3000971 h 6303409"/>
              <a:gd name="connsiteX156" fmla="*/ 453765 w 7222353"/>
              <a:gd name="connsiteY156" fmla="*/ 2992355 h 6303409"/>
              <a:gd name="connsiteX157" fmla="*/ 456127 w 7222353"/>
              <a:gd name="connsiteY157" fmla="*/ 2989992 h 6303409"/>
              <a:gd name="connsiteX158" fmla="*/ 453765 w 7222353"/>
              <a:gd name="connsiteY158" fmla="*/ 2992355 h 6303409"/>
              <a:gd name="connsiteX159" fmla="*/ 432230 w 7222353"/>
              <a:gd name="connsiteY159" fmla="*/ 3006760 h 6303409"/>
              <a:gd name="connsiteX160" fmla="*/ 325581 w 7222353"/>
              <a:gd name="connsiteY160" fmla="*/ 3052908 h 6303409"/>
              <a:gd name="connsiteX161" fmla="*/ 344456 w 7222353"/>
              <a:gd name="connsiteY161" fmla="*/ 3136268 h 6303409"/>
              <a:gd name="connsiteX162" fmla="*/ 384562 w 7222353"/>
              <a:gd name="connsiteY162" fmla="*/ 3138628 h 6303409"/>
              <a:gd name="connsiteX163" fmla="*/ 419953 w 7222353"/>
              <a:gd name="connsiteY163" fmla="*/ 3062345 h 6303409"/>
              <a:gd name="connsiteX164" fmla="*/ 460060 w 7222353"/>
              <a:gd name="connsiteY164" fmla="*/ 3098521 h 6303409"/>
              <a:gd name="connsiteX165" fmla="*/ 500167 w 7222353"/>
              <a:gd name="connsiteY165" fmla="*/ 3063131 h 6303409"/>
              <a:gd name="connsiteX166" fmla="*/ 628354 w 7222353"/>
              <a:gd name="connsiteY166" fmla="*/ 3045043 h 6303409"/>
              <a:gd name="connsiteX167" fmla="*/ 498594 w 7222353"/>
              <a:gd name="connsiteY167" fmla="*/ 3022238 h 6303409"/>
              <a:gd name="connsiteX168" fmla="*/ 497809 w 7222353"/>
              <a:gd name="connsiteY168" fmla="*/ 3022238 h 6303409"/>
              <a:gd name="connsiteX169" fmla="*/ 456127 w 7222353"/>
              <a:gd name="connsiteY169" fmla="*/ 2989992 h 6303409"/>
              <a:gd name="connsiteX170" fmla="*/ 2416688 w 7222353"/>
              <a:gd name="connsiteY170" fmla="*/ 2841359 h 6303409"/>
              <a:gd name="connsiteX171" fmla="*/ 2403318 w 7222353"/>
              <a:gd name="connsiteY171" fmla="*/ 2854727 h 6303409"/>
              <a:gd name="connsiteX172" fmla="*/ 2428485 w 7222353"/>
              <a:gd name="connsiteY172" fmla="*/ 2866524 h 6303409"/>
              <a:gd name="connsiteX173" fmla="*/ 2441067 w 7222353"/>
              <a:gd name="connsiteY173" fmla="*/ 2854727 h 6303409"/>
              <a:gd name="connsiteX174" fmla="*/ 2416688 w 7222353"/>
              <a:gd name="connsiteY174" fmla="*/ 2841359 h 6303409"/>
              <a:gd name="connsiteX175" fmla="*/ 3371409 w 7222353"/>
              <a:gd name="connsiteY175" fmla="*/ 2803611 h 6303409"/>
              <a:gd name="connsiteX176" fmla="*/ 3347028 w 7222353"/>
              <a:gd name="connsiteY176" fmla="*/ 2816980 h 6303409"/>
              <a:gd name="connsiteX177" fmla="*/ 3359611 w 7222353"/>
              <a:gd name="connsiteY177" fmla="*/ 2828775 h 6303409"/>
              <a:gd name="connsiteX178" fmla="*/ 3384777 w 7222353"/>
              <a:gd name="connsiteY178" fmla="*/ 2816980 h 6303409"/>
              <a:gd name="connsiteX179" fmla="*/ 3371409 w 7222353"/>
              <a:gd name="connsiteY179" fmla="*/ 2803611 h 6303409"/>
              <a:gd name="connsiteX180" fmla="*/ 2648684 w 7222353"/>
              <a:gd name="connsiteY180" fmla="*/ 1174923 h 6303409"/>
              <a:gd name="connsiteX181" fmla="*/ 2635314 w 7222353"/>
              <a:gd name="connsiteY181" fmla="*/ 1199302 h 6303409"/>
              <a:gd name="connsiteX182" fmla="*/ 2648684 w 7222353"/>
              <a:gd name="connsiteY182" fmla="*/ 1212672 h 6303409"/>
              <a:gd name="connsiteX183" fmla="*/ 2660479 w 7222353"/>
              <a:gd name="connsiteY183" fmla="*/ 1187506 h 6303409"/>
              <a:gd name="connsiteX184" fmla="*/ 2648684 w 7222353"/>
              <a:gd name="connsiteY184" fmla="*/ 1174923 h 6303409"/>
              <a:gd name="connsiteX185" fmla="*/ 2474981 w 7222353"/>
              <a:gd name="connsiteY185" fmla="*/ 1172465 h 6303409"/>
              <a:gd name="connsiteX186" fmla="*/ 2444212 w 7222353"/>
              <a:gd name="connsiteY186" fmla="*/ 1203234 h 6303409"/>
              <a:gd name="connsiteX187" fmla="*/ 2518136 w 7222353"/>
              <a:gd name="connsiteY187" fmla="*/ 1193012 h 6303409"/>
              <a:gd name="connsiteX188" fmla="*/ 2474981 w 7222353"/>
              <a:gd name="connsiteY188" fmla="*/ 1172465 h 6303409"/>
              <a:gd name="connsiteX189" fmla="*/ 1493620 w 7222353"/>
              <a:gd name="connsiteY189" fmla="*/ 573109 h 6303409"/>
              <a:gd name="connsiteX190" fmla="*/ 1464325 w 7222353"/>
              <a:gd name="connsiteY190" fmla="*/ 595326 h 6303409"/>
              <a:gd name="connsiteX191" fmla="*/ 1526454 w 7222353"/>
              <a:gd name="connsiteY191" fmla="*/ 582743 h 6303409"/>
              <a:gd name="connsiteX192" fmla="*/ 1493620 w 7222353"/>
              <a:gd name="connsiteY192" fmla="*/ 573109 h 6303409"/>
              <a:gd name="connsiteX193" fmla="*/ 5328822 w 7222353"/>
              <a:gd name="connsiteY193" fmla="*/ 193461 h 6303409"/>
              <a:gd name="connsiteX194" fmla="*/ 5317026 w 7222353"/>
              <a:gd name="connsiteY194" fmla="*/ 218626 h 6303409"/>
              <a:gd name="connsiteX195" fmla="*/ 5328822 w 7222353"/>
              <a:gd name="connsiteY195" fmla="*/ 231209 h 6303409"/>
              <a:gd name="connsiteX196" fmla="*/ 5342192 w 7222353"/>
              <a:gd name="connsiteY196" fmla="*/ 206830 h 6303409"/>
              <a:gd name="connsiteX197" fmla="*/ 5328822 w 7222353"/>
              <a:gd name="connsiteY197" fmla="*/ 193461 h 6303409"/>
              <a:gd name="connsiteX198" fmla="*/ 4158621 w 7222353"/>
              <a:gd name="connsiteY198" fmla="*/ 156499 h 6303409"/>
              <a:gd name="connsiteX199" fmla="*/ 4146824 w 7222353"/>
              <a:gd name="connsiteY199" fmla="*/ 168296 h 6303409"/>
              <a:gd name="connsiteX200" fmla="*/ 4160193 w 7222353"/>
              <a:gd name="connsiteY200" fmla="*/ 191888 h 6303409"/>
              <a:gd name="connsiteX201" fmla="*/ 4209715 w 7222353"/>
              <a:gd name="connsiteY201" fmla="*/ 185698 h 6303409"/>
              <a:gd name="connsiteX202" fmla="*/ 4209738 w 7222353"/>
              <a:gd name="connsiteY202" fmla="*/ 186383 h 6303409"/>
              <a:gd name="connsiteX203" fmla="*/ 4210524 w 7222353"/>
              <a:gd name="connsiteY203" fmla="*/ 185597 h 6303409"/>
              <a:gd name="connsiteX204" fmla="*/ 4209715 w 7222353"/>
              <a:gd name="connsiteY204" fmla="*/ 185698 h 6303409"/>
              <a:gd name="connsiteX205" fmla="*/ 4208951 w 7222353"/>
              <a:gd name="connsiteY205" fmla="*/ 162790 h 6303409"/>
              <a:gd name="connsiteX206" fmla="*/ 4158621 w 7222353"/>
              <a:gd name="connsiteY206" fmla="*/ 156499 h 6303409"/>
              <a:gd name="connsiteX207" fmla="*/ 4479482 w 7222353"/>
              <a:gd name="connsiteY207" fmla="*/ 154534 h 6303409"/>
              <a:gd name="connsiteX208" fmla="*/ 4441734 w 7222353"/>
              <a:gd name="connsiteY208" fmla="*/ 174587 h 6303409"/>
              <a:gd name="connsiteX209" fmla="*/ 4517231 w 7222353"/>
              <a:gd name="connsiteY209" fmla="*/ 174587 h 6303409"/>
              <a:gd name="connsiteX210" fmla="*/ 4479482 w 7222353"/>
              <a:gd name="connsiteY210" fmla="*/ 154534 h 6303409"/>
              <a:gd name="connsiteX211" fmla="*/ 2805968 w 7222353"/>
              <a:gd name="connsiteY211" fmla="*/ 125042 h 6303409"/>
              <a:gd name="connsiteX212" fmla="*/ 2780803 w 7222353"/>
              <a:gd name="connsiteY212" fmla="*/ 136839 h 6303409"/>
              <a:gd name="connsiteX213" fmla="*/ 2794172 w 7222353"/>
              <a:gd name="connsiteY213" fmla="*/ 150207 h 6303409"/>
              <a:gd name="connsiteX214" fmla="*/ 2818550 w 7222353"/>
              <a:gd name="connsiteY214" fmla="*/ 136839 h 6303409"/>
              <a:gd name="connsiteX215" fmla="*/ 2805968 w 7222353"/>
              <a:gd name="connsiteY215" fmla="*/ 125042 h 6303409"/>
              <a:gd name="connsiteX216" fmla="*/ 3560150 w 7222353"/>
              <a:gd name="connsiteY216" fmla="*/ 123470 h 6303409"/>
              <a:gd name="connsiteX217" fmla="*/ 3535771 w 7222353"/>
              <a:gd name="connsiteY217" fmla="*/ 136839 h 6303409"/>
              <a:gd name="connsiteX218" fmla="*/ 3548354 w 7222353"/>
              <a:gd name="connsiteY218" fmla="*/ 148634 h 6303409"/>
              <a:gd name="connsiteX219" fmla="*/ 3573520 w 7222353"/>
              <a:gd name="connsiteY219" fmla="*/ 136839 h 6303409"/>
              <a:gd name="connsiteX220" fmla="*/ 3560150 w 7222353"/>
              <a:gd name="connsiteY220" fmla="*/ 123470 h 6303409"/>
              <a:gd name="connsiteX221" fmla="*/ 5927292 w 7222353"/>
              <a:gd name="connsiteY221" fmla="*/ 123468 h 6303409"/>
              <a:gd name="connsiteX222" fmla="*/ 5951672 w 7222353"/>
              <a:gd name="connsiteY222" fmla="*/ 136837 h 6303409"/>
              <a:gd name="connsiteX223" fmla="*/ 5939089 w 7222353"/>
              <a:gd name="connsiteY223" fmla="*/ 148633 h 6303409"/>
              <a:gd name="connsiteX224" fmla="*/ 5913924 w 7222353"/>
              <a:gd name="connsiteY224" fmla="*/ 136837 h 6303409"/>
              <a:gd name="connsiteX225" fmla="*/ 5927292 w 7222353"/>
              <a:gd name="connsiteY225" fmla="*/ 123468 h 6303409"/>
              <a:gd name="connsiteX226" fmla="*/ 2724181 w 7222353"/>
              <a:gd name="connsiteY226" fmla="*/ 117965 h 6303409"/>
              <a:gd name="connsiteX227" fmla="*/ 2710810 w 7222353"/>
              <a:gd name="connsiteY227" fmla="*/ 142343 h 6303409"/>
              <a:gd name="connsiteX228" fmla="*/ 2724181 w 7222353"/>
              <a:gd name="connsiteY228" fmla="*/ 155713 h 6303409"/>
              <a:gd name="connsiteX229" fmla="*/ 2735976 w 7222353"/>
              <a:gd name="connsiteY229" fmla="*/ 130547 h 6303409"/>
              <a:gd name="connsiteX230" fmla="*/ 2724181 w 7222353"/>
              <a:gd name="connsiteY230" fmla="*/ 117965 h 6303409"/>
              <a:gd name="connsiteX231" fmla="*/ 1668010 w 7222353"/>
              <a:gd name="connsiteY231" fmla="*/ 117963 h 6303409"/>
              <a:gd name="connsiteX232" fmla="*/ 1761594 w 7222353"/>
              <a:gd name="connsiteY232" fmla="*/ 117963 h 6303409"/>
              <a:gd name="connsiteX233" fmla="*/ 1558697 w 7222353"/>
              <a:gd name="connsiteY233" fmla="*/ 230422 h 6303409"/>
              <a:gd name="connsiteX234" fmla="*/ 1502861 w 7222353"/>
              <a:gd name="connsiteY234" fmla="*/ 225704 h 6303409"/>
              <a:gd name="connsiteX235" fmla="*/ 1581503 w 7222353"/>
              <a:gd name="connsiteY235" fmla="*/ 170654 h 6303409"/>
              <a:gd name="connsiteX236" fmla="*/ 1668010 w 7222353"/>
              <a:gd name="connsiteY236" fmla="*/ 117963 h 6303409"/>
              <a:gd name="connsiteX237" fmla="*/ 3460274 w 7222353"/>
              <a:gd name="connsiteY237" fmla="*/ 116785 h 6303409"/>
              <a:gd name="connsiteX238" fmla="*/ 3422526 w 7222353"/>
              <a:gd name="connsiteY238" fmla="*/ 136839 h 6303409"/>
              <a:gd name="connsiteX239" fmla="*/ 3498023 w 7222353"/>
              <a:gd name="connsiteY239" fmla="*/ 136839 h 6303409"/>
              <a:gd name="connsiteX240" fmla="*/ 3460274 w 7222353"/>
              <a:gd name="connsiteY240" fmla="*/ 116785 h 6303409"/>
              <a:gd name="connsiteX241" fmla="*/ 2554311 w 7222353"/>
              <a:gd name="connsiteY241" fmla="*/ 116785 h 6303409"/>
              <a:gd name="connsiteX242" fmla="*/ 2516563 w 7222353"/>
              <a:gd name="connsiteY242" fmla="*/ 136839 h 6303409"/>
              <a:gd name="connsiteX243" fmla="*/ 2592060 w 7222353"/>
              <a:gd name="connsiteY243" fmla="*/ 136839 h 6303409"/>
              <a:gd name="connsiteX244" fmla="*/ 2554311 w 7222353"/>
              <a:gd name="connsiteY244" fmla="*/ 116785 h 6303409"/>
              <a:gd name="connsiteX245" fmla="*/ 3116705 w 7222353"/>
              <a:gd name="connsiteY245" fmla="*/ 115507 h 6303409"/>
              <a:gd name="connsiteX246" fmla="*/ 3085936 w 7222353"/>
              <a:gd name="connsiteY246" fmla="*/ 146275 h 6303409"/>
              <a:gd name="connsiteX247" fmla="*/ 3159860 w 7222353"/>
              <a:gd name="connsiteY247" fmla="*/ 136051 h 6303409"/>
              <a:gd name="connsiteX248" fmla="*/ 3116705 w 7222353"/>
              <a:gd name="connsiteY248" fmla="*/ 115507 h 6303409"/>
              <a:gd name="connsiteX249" fmla="*/ 1988085 w 7222353"/>
              <a:gd name="connsiteY249" fmla="*/ 80215 h 6303409"/>
              <a:gd name="connsiteX250" fmla="*/ 1982580 w 7222353"/>
              <a:gd name="connsiteY250" fmla="*/ 106659 h 6303409"/>
              <a:gd name="connsiteX251" fmla="*/ 1960560 w 7222353"/>
              <a:gd name="connsiteY251" fmla="*/ 117177 h 6303409"/>
              <a:gd name="connsiteX252" fmla="*/ 1761594 w 7222353"/>
              <a:gd name="connsiteY252" fmla="*/ 117963 h 6303409"/>
              <a:gd name="connsiteX253" fmla="*/ 1789119 w 7222353"/>
              <a:gd name="connsiteY253" fmla="*/ 81002 h 6303409"/>
              <a:gd name="connsiteX254" fmla="*/ 3359613 w 7222353"/>
              <a:gd name="connsiteY254" fmla="*/ 11795 h 6303409"/>
              <a:gd name="connsiteX255" fmla="*/ 3384779 w 7222353"/>
              <a:gd name="connsiteY255" fmla="*/ 23592 h 6303409"/>
              <a:gd name="connsiteX256" fmla="*/ 3371409 w 7222353"/>
              <a:gd name="connsiteY256" fmla="*/ 36961 h 6303409"/>
              <a:gd name="connsiteX257" fmla="*/ 3347029 w 7222353"/>
              <a:gd name="connsiteY257" fmla="*/ 23592 h 6303409"/>
              <a:gd name="connsiteX258" fmla="*/ 3359613 w 7222353"/>
              <a:gd name="connsiteY258" fmla="*/ 11795 h 6303409"/>
              <a:gd name="connsiteX259" fmla="*/ 2352987 w 7222353"/>
              <a:gd name="connsiteY259" fmla="*/ 11795 h 6303409"/>
              <a:gd name="connsiteX260" fmla="*/ 2365570 w 7222353"/>
              <a:gd name="connsiteY260" fmla="*/ 23592 h 6303409"/>
              <a:gd name="connsiteX261" fmla="*/ 2341191 w 7222353"/>
              <a:gd name="connsiteY261" fmla="*/ 36961 h 6303409"/>
              <a:gd name="connsiteX262" fmla="*/ 2327821 w 7222353"/>
              <a:gd name="connsiteY262" fmla="*/ 23592 h 6303409"/>
              <a:gd name="connsiteX263" fmla="*/ 2352987 w 7222353"/>
              <a:gd name="connsiteY263" fmla="*/ 11795 h 6303409"/>
              <a:gd name="connsiteX264" fmla="*/ 2540943 w 7222353"/>
              <a:gd name="connsiteY264" fmla="*/ 10222 h 6303409"/>
              <a:gd name="connsiteX265" fmla="*/ 2554313 w 7222353"/>
              <a:gd name="connsiteY265" fmla="*/ 23591 h 6303409"/>
              <a:gd name="connsiteX266" fmla="*/ 2529147 w 7222353"/>
              <a:gd name="connsiteY266" fmla="*/ 35388 h 6303409"/>
              <a:gd name="connsiteX267" fmla="*/ 2516565 w 7222353"/>
              <a:gd name="connsiteY267" fmla="*/ 23591 h 6303409"/>
              <a:gd name="connsiteX268" fmla="*/ 2540943 w 7222353"/>
              <a:gd name="connsiteY268" fmla="*/ 10222 h 6303409"/>
              <a:gd name="connsiteX269" fmla="*/ 3479149 w 7222353"/>
              <a:gd name="connsiteY269" fmla="*/ 4717 h 6303409"/>
              <a:gd name="connsiteX270" fmla="*/ 3492518 w 7222353"/>
              <a:gd name="connsiteY270" fmla="*/ 18086 h 6303409"/>
              <a:gd name="connsiteX271" fmla="*/ 3479149 w 7222353"/>
              <a:gd name="connsiteY271" fmla="*/ 42466 h 6303409"/>
              <a:gd name="connsiteX272" fmla="*/ 3467352 w 7222353"/>
              <a:gd name="connsiteY272" fmla="*/ 29883 h 6303409"/>
              <a:gd name="connsiteX273" fmla="*/ 3479149 w 7222353"/>
              <a:gd name="connsiteY273" fmla="*/ 4717 h 6303409"/>
              <a:gd name="connsiteX274" fmla="*/ 3188269 w 7222353"/>
              <a:gd name="connsiteY274" fmla="*/ 3048 h 6303409"/>
              <a:gd name="connsiteX275" fmla="*/ 3251872 w 7222353"/>
              <a:gd name="connsiteY275" fmla="*/ 4720 h 6303409"/>
              <a:gd name="connsiteX276" fmla="*/ 3310068 w 7222353"/>
              <a:gd name="connsiteY276" fmla="*/ 13370 h 6303409"/>
              <a:gd name="connsiteX277" fmla="*/ 3159860 w 7222353"/>
              <a:gd name="connsiteY277" fmla="*/ 56623 h 6303409"/>
              <a:gd name="connsiteX278" fmla="*/ 3165366 w 7222353"/>
              <a:gd name="connsiteY278" fmla="*/ 69207 h 6303409"/>
              <a:gd name="connsiteX279" fmla="*/ 3548354 w 7222353"/>
              <a:gd name="connsiteY279" fmla="*/ 83361 h 6303409"/>
              <a:gd name="connsiteX280" fmla="*/ 3586103 w 7222353"/>
              <a:gd name="connsiteY280" fmla="*/ 45613 h 6303409"/>
              <a:gd name="connsiteX281" fmla="*/ 3626996 w 7222353"/>
              <a:gd name="connsiteY281" fmla="*/ 75497 h 6303409"/>
              <a:gd name="connsiteX282" fmla="*/ 3738669 w 7222353"/>
              <a:gd name="connsiteY282" fmla="*/ 75497 h 6303409"/>
              <a:gd name="connsiteX283" fmla="*/ 3794505 w 7222353"/>
              <a:gd name="connsiteY283" fmla="*/ 36963 h 6303409"/>
              <a:gd name="connsiteX284" fmla="*/ 3853487 w 7222353"/>
              <a:gd name="connsiteY284" fmla="*/ 71565 h 6303409"/>
              <a:gd name="connsiteX285" fmla="*/ 3924266 w 7222353"/>
              <a:gd name="connsiteY285" fmla="*/ 32243 h 6303409"/>
              <a:gd name="connsiteX286" fmla="*/ 3964374 w 7222353"/>
              <a:gd name="connsiteY286" fmla="*/ 114818 h 6303409"/>
              <a:gd name="connsiteX287" fmla="*/ 4000549 w 7222353"/>
              <a:gd name="connsiteY287" fmla="*/ 116391 h 6303409"/>
              <a:gd name="connsiteX288" fmla="*/ 4114581 w 7222353"/>
              <a:gd name="connsiteY288" fmla="*/ 39322 h 6303409"/>
              <a:gd name="connsiteX289" fmla="*/ 4157834 w 7222353"/>
              <a:gd name="connsiteY289" fmla="*/ 77858 h 6303409"/>
              <a:gd name="connsiteX290" fmla="*/ 4190078 w 7222353"/>
              <a:gd name="connsiteY290" fmla="*/ 45613 h 6303409"/>
              <a:gd name="connsiteX291" fmla="*/ 4277371 w 7222353"/>
              <a:gd name="connsiteY291" fmla="*/ 45613 h 6303409"/>
              <a:gd name="connsiteX292" fmla="*/ 4300964 w 7222353"/>
              <a:gd name="connsiteY292" fmla="*/ 110886 h 6303409"/>
              <a:gd name="connsiteX293" fmla="*/ 4357586 w 7222353"/>
              <a:gd name="connsiteY293" fmla="*/ 105689 h 6303409"/>
              <a:gd name="connsiteX294" fmla="*/ 4363295 w 7222353"/>
              <a:gd name="connsiteY294" fmla="*/ 84507 h 6303409"/>
              <a:gd name="connsiteX295" fmla="*/ 4347953 w 7222353"/>
              <a:gd name="connsiteY295" fmla="*/ 71268 h 6303409"/>
              <a:gd name="connsiteX296" fmla="*/ 4331634 w 7222353"/>
              <a:gd name="connsiteY296" fmla="*/ 57407 h 6303409"/>
              <a:gd name="connsiteX297" fmla="*/ 4365143 w 7222353"/>
              <a:gd name="connsiteY297" fmla="*/ 69351 h 6303409"/>
              <a:gd name="connsiteX298" fmla="*/ 4367546 w 7222353"/>
              <a:gd name="connsiteY298" fmla="*/ 79430 h 6303409"/>
              <a:gd name="connsiteX299" fmla="*/ 4420500 w 7222353"/>
              <a:gd name="connsiteY299" fmla="*/ 79430 h 6303409"/>
              <a:gd name="connsiteX300" fmla="*/ 4463754 w 7222353"/>
              <a:gd name="connsiteY300" fmla="*/ 119538 h 6303409"/>
              <a:gd name="connsiteX301" fmla="*/ 4488133 w 7222353"/>
              <a:gd name="connsiteY301" fmla="*/ 49545 h 6303409"/>
              <a:gd name="connsiteX302" fmla="*/ 4575426 w 7222353"/>
              <a:gd name="connsiteY302" fmla="*/ 106955 h 6303409"/>
              <a:gd name="connsiteX303" fmla="*/ 4627330 w 7222353"/>
              <a:gd name="connsiteY303" fmla="*/ 77858 h 6303409"/>
              <a:gd name="connsiteX304" fmla="*/ 4709118 w 7222353"/>
              <a:gd name="connsiteY304" fmla="*/ 123470 h 6303409"/>
              <a:gd name="connsiteX305" fmla="*/ 4764168 w 7222353"/>
              <a:gd name="connsiteY305" fmla="*/ 81790 h 6303409"/>
              <a:gd name="connsiteX306" fmla="*/ 4797198 w 7222353"/>
              <a:gd name="connsiteY306" fmla="*/ 116391 h 6303409"/>
              <a:gd name="connsiteX307" fmla="*/ 4951338 w 7222353"/>
              <a:gd name="connsiteY307" fmla="*/ 119538 h 6303409"/>
              <a:gd name="connsiteX308" fmla="*/ 4993804 w 7222353"/>
              <a:gd name="connsiteY308" fmla="*/ 157285 h 6303409"/>
              <a:gd name="connsiteX309" fmla="*/ 5018184 w 7222353"/>
              <a:gd name="connsiteY309" fmla="*/ 87293 h 6303409"/>
              <a:gd name="connsiteX310" fmla="*/ 5100759 w 7222353"/>
              <a:gd name="connsiteY310" fmla="*/ 154140 h 6303409"/>
              <a:gd name="connsiteX311" fmla="*/ 5137720 w 7222353"/>
              <a:gd name="connsiteY311" fmla="*/ 77858 h 6303409"/>
              <a:gd name="connsiteX312" fmla="*/ 5176256 w 7222353"/>
              <a:gd name="connsiteY312" fmla="*/ 160431 h 6303409"/>
              <a:gd name="connsiteX313" fmla="*/ 5216364 w 7222353"/>
              <a:gd name="connsiteY313" fmla="*/ 73138 h 6303409"/>
              <a:gd name="connsiteX314" fmla="*/ 5243889 w 7222353"/>
              <a:gd name="connsiteY314" fmla="*/ 154140 h 6303409"/>
              <a:gd name="connsiteX315" fmla="*/ 5303656 w 7222353"/>
              <a:gd name="connsiteY315" fmla="*/ 114032 h 6303409"/>
              <a:gd name="connsiteX316" fmla="*/ 5367357 w 7222353"/>
              <a:gd name="connsiteY316" fmla="*/ 149422 h 6303409"/>
              <a:gd name="connsiteX317" fmla="*/ 5402746 w 7222353"/>
              <a:gd name="connsiteY317" fmla="*/ 121109 h 6303409"/>
              <a:gd name="connsiteX318" fmla="*/ 5474312 w 7222353"/>
              <a:gd name="connsiteY318" fmla="*/ 121109 h 6303409"/>
              <a:gd name="connsiteX319" fmla="*/ 5534080 w 7222353"/>
              <a:gd name="connsiteY319" fmla="*/ 164363 h 6303409"/>
              <a:gd name="connsiteX320" fmla="*/ 5592276 w 7222353"/>
              <a:gd name="connsiteY320" fmla="*/ 121897 h 6303409"/>
              <a:gd name="connsiteX321" fmla="*/ 5629237 w 7222353"/>
              <a:gd name="connsiteY321" fmla="*/ 154926 h 6303409"/>
              <a:gd name="connsiteX322" fmla="*/ 5667772 w 7222353"/>
              <a:gd name="connsiteY322" fmla="*/ 120323 h 6303409"/>
              <a:gd name="connsiteX323" fmla="*/ 5714957 w 7222353"/>
              <a:gd name="connsiteY323" fmla="*/ 161218 h 6303409"/>
              <a:gd name="connsiteX324" fmla="*/ 5786523 w 7222353"/>
              <a:gd name="connsiteY324" fmla="*/ 124256 h 6303409"/>
              <a:gd name="connsiteX325" fmla="*/ 5814832 w 7222353"/>
              <a:gd name="connsiteY325" fmla="*/ 197394 h 6303409"/>
              <a:gd name="connsiteX326" fmla="*/ 5851795 w 7222353"/>
              <a:gd name="connsiteY326" fmla="*/ 120323 h 6303409"/>
              <a:gd name="connsiteX327" fmla="*/ 5879320 w 7222353"/>
              <a:gd name="connsiteY327" fmla="*/ 179305 h 6303409"/>
              <a:gd name="connsiteX328" fmla="*/ 5964254 w 7222353"/>
              <a:gd name="connsiteY328" fmla="*/ 195821 h 6303409"/>
              <a:gd name="connsiteX329" fmla="*/ 6007508 w 7222353"/>
              <a:gd name="connsiteY329" fmla="*/ 154926 h 6303409"/>
              <a:gd name="connsiteX330" fmla="*/ 6063344 w 7222353"/>
              <a:gd name="connsiteY330" fmla="*/ 154926 h 6303409"/>
              <a:gd name="connsiteX331" fmla="*/ 6075926 w 7222353"/>
              <a:gd name="connsiteY331" fmla="*/ 184810 h 6303409"/>
              <a:gd name="connsiteX332" fmla="*/ 6097652 w 7222353"/>
              <a:gd name="connsiteY332" fmla="*/ 178716 h 6303409"/>
              <a:gd name="connsiteX333" fmla="*/ 6100979 w 7222353"/>
              <a:gd name="connsiteY333" fmla="*/ 155712 h 6303409"/>
              <a:gd name="connsiteX334" fmla="*/ 6064917 w 7222353"/>
              <a:gd name="connsiteY334" fmla="*/ 155712 h 6303409"/>
              <a:gd name="connsiteX335" fmla="*/ 6090082 w 7222353"/>
              <a:gd name="connsiteY335" fmla="*/ 125827 h 6303409"/>
              <a:gd name="connsiteX336" fmla="*/ 6097258 w 7222353"/>
              <a:gd name="connsiteY336" fmla="*/ 137525 h 6303409"/>
              <a:gd name="connsiteX337" fmla="*/ 6102432 w 7222353"/>
              <a:gd name="connsiteY337" fmla="*/ 154926 h 6303409"/>
              <a:gd name="connsiteX338" fmla="*/ 6194676 w 7222353"/>
              <a:gd name="connsiteY338" fmla="*/ 154926 h 6303409"/>
              <a:gd name="connsiteX339" fmla="*/ 6233998 w 7222353"/>
              <a:gd name="connsiteY339" fmla="*/ 191888 h 6303409"/>
              <a:gd name="connsiteX340" fmla="*/ 6307922 w 7222353"/>
              <a:gd name="connsiteY340" fmla="*/ 191888 h 6303409"/>
              <a:gd name="connsiteX341" fmla="*/ 6348816 w 7222353"/>
              <a:gd name="connsiteY341" fmla="*/ 157285 h 6303409"/>
              <a:gd name="connsiteX342" fmla="*/ 6384206 w 7222353"/>
              <a:gd name="connsiteY342" fmla="*/ 192674 h 6303409"/>
              <a:gd name="connsiteX343" fmla="*/ 6497452 w 7222353"/>
              <a:gd name="connsiteY343" fmla="*/ 192674 h 6303409"/>
              <a:gd name="connsiteX344" fmla="*/ 6530482 w 7222353"/>
              <a:gd name="connsiteY344" fmla="*/ 225705 h 6303409"/>
              <a:gd name="connsiteX345" fmla="*/ 6765622 w 7222353"/>
              <a:gd name="connsiteY345" fmla="*/ 225705 h 6303409"/>
              <a:gd name="connsiteX346" fmla="*/ 6797080 w 7222353"/>
              <a:gd name="connsiteY346" fmla="*/ 194247 h 6303409"/>
              <a:gd name="connsiteX347" fmla="*/ 6823818 w 7222353"/>
              <a:gd name="connsiteY347" fmla="*/ 217054 h 6303409"/>
              <a:gd name="connsiteX348" fmla="*/ 6856062 w 7222353"/>
              <a:gd name="connsiteY348" fmla="*/ 229637 h 6303409"/>
              <a:gd name="connsiteX349" fmla="*/ 6986608 w 7222353"/>
              <a:gd name="connsiteY349" fmla="*/ 229637 h 6303409"/>
              <a:gd name="connsiteX350" fmla="*/ 7025930 w 7222353"/>
              <a:gd name="connsiteY350" fmla="*/ 265025 h 6303409"/>
              <a:gd name="connsiteX351" fmla="*/ 7065250 w 7222353"/>
              <a:gd name="connsiteY351" fmla="*/ 231996 h 6303409"/>
              <a:gd name="connsiteX352" fmla="*/ 7097494 w 7222353"/>
              <a:gd name="connsiteY352" fmla="*/ 264239 h 6303409"/>
              <a:gd name="connsiteX353" fmla="*/ 7222353 w 7222353"/>
              <a:gd name="connsiteY353" fmla="*/ 264239 h 6303409"/>
              <a:gd name="connsiteX354" fmla="*/ 7222353 w 7222353"/>
              <a:gd name="connsiteY354" fmla="*/ 6303409 h 6303409"/>
              <a:gd name="connsiteX355" fmla="*/ 552517 w 7222353"/>
              <a:gd name="connsiteY355" fmla="*/ 6303409 h 6303409"/>
              <a:gd name="connsiteX356" fmla="*/ 545977 w 7222353"/>
              <a:gd name="connsiteY356" fmla="*/ 6277250 h 6303409"/>
              <a:gd name="connsiteX357" fmla="*/ 502527 w 7222353"/>
              <a:gd name="connsiteY357" fmla="*/ 6190743 h 6303409"/>
              <a:gd name="connsiteX358" fmla="*/ 469496 w 7222353"/>
              <a:gd name="connsiteY358" fmla="*/ 6190743 h 6303409"/>
              <a:gd name="connsiteX359" fmla="*/ 333445 w 7222353"/>
              <a:gd name="connsiteY359" fmla="*/ 6060196 h 6303409"/>
              <a:gd name="connsiteX360" fmla="*/ 333445 w 7222353"/>
              <a:gd name="connsiteY360" fmla="*/ 5942232 h 6303409"/>
              <a:gd name="connsiteX361" fmla="*/ 438039 w 7222353"/>
              <a:gd name="connsiteY361" fmla="*/ 5786520 h 6303409"/>
              <a:gd name="connsiteX362" fmla="*/ 329513 w 7222353"/>
              <a:gd name="connsiteY362" fmla="*/ 5775509 h 6303409"/>
              <a:gd name="connsiteX363" fmla="*/ 181665 w 7222353"/>
              <a:gd name="connsiteY363" fmla="*/ 5677207 h 6303409"/>
              <a:gd name="connsiteX364" fmla="*/ 181665 w 7222353"/>
              <a:gd name="connsiteY364" fmla="*/ 5567107 h 6303409"/>
              <a:gd name="connsiteX365" fmla="*/ 126618 w 7222353"/>
              <a:gd name="connsiteY365" fmla="*/ 5512056 h 6303409"/>
              <a:gd name="connsiteX366" fmla="*/ 51907 w 7222353"/>
              <a:gd name="connsiteY366" fmla="*/ 5512056 h 6303409"/>
              <a:gd name="connsiteX367" fmla="*/ 0 w 7222353"/>
              <a:gd name="connsiteY367" fmla="*/ 5412968 h 6303409"/>
              <a:gd name="connsiteX368" fmla="*/ 107741 w 7222353"/>
              <a:gd name="connsiteY368" fmla="*/ 5300508 h 6303409"/>
              <a:gd name="connsiteX369" fmla="*/ 107741 w 7222353"/>
              <a:gd name="connsiteY369" fmla="*/ 5226584 h 6303409"/>
              <a:gd name="connsiteX370" fmla="*/ 204472 w 7222353"/>
              <a:gd name="connsiteY370" fmla="*/ 5177040 h 6303409"/>
              <a:gd name="connsiteX371" fmla="*/ 239861 w 7222353"/>
              <a:gd name="connsiteY371" fmla="*/ 5208497 h 6303409"/>
              <a:gd name="connsiteX372" fmla="*/ 272890 w 7222353"/>
              <a:gd name="connsiteY372" fmla="*/ 5175467 h 6303409"/>
              <a:gd name="connsiteX373" fmla="*/ 393213 w 7222353"/>
              <a:gd name="connsiteY373" fmla="*/ 5168389 h 6303409"/>
              <a:gd name="connsiteX374" fmla="*/ 445904 w 7222353"/>
              <a:gd name="connsiteY374" fmla="*/ 5058290 h 6303409"/>
              <a:gd name="connsiteX375" fmla="*/ 518255 w 7222353"/>
              <a:gd name="connsiteY375" fmla="*/ 5036269 h 6303409"/>
              <a:gd name="connsiteX376" fmla="*/ 445904 w 7222353"/>
              <a:gd name="connsiteY376" fmla="*/ 5058290 h 6303409"/>
              <a:gd name="connsiteX377" fmla="*/ 380631 w 7222353"/>
              <a:gd name="connsiteY377" fmla="*/ 5020541 h 6303409"/>
              <a:gd name="connsiteX378" fmla="*/ 332658 w 7222353"/>
              <a:gd name="connsiteY378" fmla="*/ 5020541 h 6303409"/>
              <a:gd name="connsiteX379" fmla="*/ 332658 w 7222353"/>
              <a:gd name="connsiteY379" fmla="*/ 4963918 h 6303409"/>
              <a:gd name="connsiteX380" fmla="*/ 425456 w 7222353"/>
              <a:gd name="connsiteY380" fmla="*/ 4981219 h 6303409"/>
              <a:gd name="connsiteX381" fmla="*/ 465564 w 7222353"/>
              <a:gd name="connsiteY381" fmla="*/ 4945830 h 6303409"/>
              <a:gd name="connsiteX382" fmla="*/ 576451 w 7222353"/>
              <a:gd name="connsiteY382" fmla="*/ 4945830 h 6303409"/>
              <a:gd name="connsiteX383" fmla="*/ 616558 w 7222353"/>
              <a:gd name="connsiteY383" fmla="*/ 4982005 h 6303409"/>
              <a:gd name="connsiteX384" fmla="*/ 649589 w 7222353"/>
              <a:gd name="connsiteY384" fmla="*/ 4948976 h 6303409"/>
              <a:gd name="connsiteX385" fmla="*/ 843049 w 7222353"/>
              <a:gd name="connsiteY385" fmla="*/ 4942685 h 6303409"/>
              <a:gd name="connsiteX386" fmla="*/ 891807 w 7222353"/>
              <a:gd name="connsiteY386" fmla="*/ 4901004 h 6303409"/>
              <a:gd name="connsiteX387" fmla="*/ 964945 w 7222353"/>
              <a:gd name="connsiteY387" fmla="*/ 4941899 h 6303409"/>
              <a:gd name="connsiteX388" fmla="*/ 1067967 w 7222353"/>
              <a:gd name="connsiteY388" fmla="*/ 4941899 h 6303409"/>
              <a:gd name="connsiteX389" fmla="*/ 1107288 w 7222353"/>
              <a:gd name="connsiteY389" fmla="*/ 4908868 h 6303409"/>
              <a:gd name="connsiteX390" fmla="*/ 1209525 w 7222353"/>
              <a:gd name="connsiteY390" fmla="*/ 4908868 h 6303409"/>
              <a:gd name="connsiteX391" fmla="*/ 1294458 w 7222353"/>
              <a:gd name="connsiteY391" fmla="*/ 4869547 h 6303409"/>
              <a:gd name="connsiteX392" fmla="*/ 1333779 w 7222353"/>
              <a:gd name="connsiteY392" fmla="*/ 4906509 h 6303409"/>
              <a:gd name="connsiteX393" fmla="*/ 1360517 w 7222353"/>
              <a:gd name="connsiteY393" fmla="*/ 4879770 h 6303409"/>
              <a:gd name="connsiteX394" fmla="*/ 1552406 w 7222353"/>
              <a:gd name="connsiteY394" fmla="*/ 4849100 h 6303409"/>
              <a:gd name="connsiteX395" fmla="*/ 1430509 w 7222353"/>
              <a:gd name="connsiteY395" fmla="*/ 4811352 h 6303409"/>
              <a:gd name="connsiteX396" fmla="*/ 1305468 w 7222353"/>
              <a:gd name="connsiteY396" fmla="*/ 4794049 h 6303409"/>
              <a:gd name="connsiteX397" fmla="*/ 1192222 w 7222353"/>
              <a:gd name="connsiteY397" fmla="*/ 4793263 h 6303409"/>
              <a:gd name="connsiteX398" fmla="*/ 1069540 w 7222353"/>
              <a:gd name="connsiteY398" fmla="*/ 4793263 h 6303409"/>
              <a:gd name="connsiteX399" fmla="*/ 1085269 w 7222353"/>
              <a:gd name="connsiteY399" fmla="*/ 4695747 h 6303409"/>
              <a:gd name="connsiteX400" fmla="*/ 1015276 w 7222353"/>
              <a:gd name="connsiteY400" fmla="*/ 4683164 h 6303409"/>
              <a:gd name="connsiteX401" fmla="*/ 893381 w 7222353"/>
              <a:gd name="connsiteY401" fmla="*/ 4580142 h 6303409"/>
              <a:gd name="connsiteX402" fmla="*/ 949216 w 7222353"/>
              <a:gd name="connsiteY402" fmla="*/ 4467683 h 6303409"/>
              <a:gd name="connsiteX403" fmla="*/ 1026286 w 7222353"/>
              <a:gd name="connsiteY403" fmla="*/ 4421284 h 6303409"/>
              <a:gd name="connsiteX404" fmla="*/ 1123803 w 7222353"/>
              <a:gd name="connsiteY404" fmla="*/ 4394546 h 6303409"/>
              <a:gd name="connsiteX405" fmla="*/ 1071113 w 7222353"/>
              <a:gd name="connsiteY405" fmla="*/ 4341855 h 6303409"/>
              <a:gd name="connsiteX406" fmla="*/ 1019208 w 7222353"/>
              <a:gd name="connsiteY406" fmla="*/ 4309611 h 6303409"/>
              <a:gd name="connsiteX407" fmla="*/ 1072686 w 7222353"/>
              <a:gd name="connsiteY407" fmla="*/ 4298602 h 6303409"/>
              <a:gd name="connsiteX408" fmla="*/ 1163911 w 7222353"/>
              <a:gd name="connsiteY408" fmla="*/ 4189288 h 6303409"/>
              <a:gd name="connsiteX409" fmla="*/ 1230758 w 7222353"/>
              <a:gd name="connsiteY409" fmla="*/ 4220745 h 6303409"/>
              <a:gd name="connsiteX410" fmla="*/ 1300749 w 7222353"/>
              <a:gd name="connsiteY410" fmla="*/ 4181424 h 6303409"/>
              <a:gd name="connsiteX411" fmla="*/ 1350293 w 7222353"/>
              <a:gd name="connsiteY411" fmla="*/ 4138957 h 6303409"/>
              <a:gd name="connsiteX412" fmla="*/ 1366809 w 7222353"/>
              <a:gd name="connsiteY412" fmla="*/ 4038295 h 6303409"/>
              <a:gd name="connsiteX413" fmla="*/ 1406130 w 7222353"/>
              <a:gd name="connsiteY413" fmla="*/ 4072112 h 6303409"/>
              <a:gd name="connsiteX414" fmla="*/ 1494997 w 7222353"/>
              <a:gd name="connsiteY414" fmla="*/ 4022566 h 6303409"/>
              <a:gd name="connsiteX415" fmla="*/ 1507579 w 7222353"/>
              <a:gd name="connsiteY415" fmla="*/ 3988749 h 6303409"/>
              <a:gd name="connsiteX416" fmla="*/ 1450170 w 7222353"/>
              <a:gd name="connsiteY416" fmla="*/ 3927408 h 6303409"/>
              <a:gd name="connsiteX417" fmla="*/ 1222107 w 7222353"/>
              <a:gd name="connsiteY417" fmla="*/ 3927408 h 6303409"/>
              <a:gd name="connsiteX418" fmla="*/ 1185931 w 7222353"/>
              <a:gd name="connsiteY418" fmla="*/ 3891233 h 6303409"/>
              <a:gd name="connsiteX419" fmla="*/ 592966 w 7222353"/>
              <a:gd name="connsiteY419" fmla="*/ 3891233 h 6303409"/>
              <a:gd name="connsiteX420" fmla="*/ 413660 w 7222353"/>
              <a:gd name="connsiteY420" fmla="*/ 3754394 h 6303409"/>
              <a:gd name="connsiteX421" fmla="*/ 368048 w 7222353"/>
              <a:gd name="connsiteY421" fmla="*/ 3607334 h 6303409"/>
              <a:gd name="connsiteX422" fmla="*/ 189529 w 7222353"/>
              <a:gd name="connsiteY422" fmla="*/ 3508249 h 6303409"/>
              <a:gd name="connsiteX423" fmla="*/ 143916 w 7222353"/>
              <a:gd name="connsiteY423" fmla="*/ 3354895 h 6303409"/>
              <a:gd name="connsiteX424" fmla="*/ 257163 w 7222353"/>
              <a:gd name="connsiteY424" fmla="*/ 3267602 h 6303409"/>
              <a:gd name="connsiteX425" fmla="*/ 257163 w 7222353"/>
              <a:gd name="connsiteY425" fmla="*/ 3156716 h 6303409"/>
              <a:gd name="connsiteX426" fmla="*/ 296482 w 7222353"/>
              <a:gd name="connsiteY426" fmla="*/ 3114248 h 6303409"/>
              <a:gd name="connsiteX427" fmla="*/ 259525 w 7222353"/>
              <a:gd name="connsiteY427" fmla="*/ 3037966 h 6303409"/>
              <a:gd name="connsiteX428" fmla="*/ 259525 w 7222353"/>
              <a:gd name="connsiteY428" fmla="*/ 2924719 h 6303409"/>
              <a:gd name="connsiteX429" fmla="*/ 352325 w 7222353"/>
              <a:gd name="connsiteY429" fmla="*/ 2793387 h 6303409"/>
              <a:gd name="connsiteX430" fmla="*/ 429389 w 7222353"/>
              <a:gd name="connsiteY430" fmla="*/ 2793387 h 6303409"/>
              <a:gd name="connsiteX431" fmla="*/ 410515 w 7222353"/>
              <a:gd name="connsiteY431" fmla="*/ 2733619 h 6303409"/>
              <a:gd name="connsiteX432" fmla="*/ 410515 w 7222353"/>
              <a:gd name="connsiteY432" fmla="*/ 2665986 h 6303409"/>
              <a:gd name="connsiteX433" fmla="*/ 224922 w 7222353"/>
              <a:gd name="connsiteY433" fmla="*/ 2563751 h 6303409"/>
              <a:gd name="connsiteX434" fmla="*/ 224922 w 7222353"/>
              <a:gd name="connsiteY434" fmla="*/ 2439495 h 6303409"/>
              <a:gd name="connsiteX435" fmla="*/ 294910 w 7222353"/>
              <a:gd name="connsiteY435" fmla="*/ 2308949 h 6303409"/>
              <a:gd name="connsiteX436" fmla="*/ 295700 w 7222353"/>
              <a:gd name="connsiteY436" fmla="*/ 2253113 h 6303409"/>
              <a:gd name="connsiteX437" fmla="*/ 364905 w 7222353"/>
              <a:gd name="connsiteY437" fmla="*/ 2143014 h 6303409"/>
              <a:gd name="connsiteX438" fmla="*/ 430176 w 7222353"/>
              <a:gd name="connsiteY438" fmla="*/ 2187839 h 6303409"/>
              <a:gd name="connsiteX439" fmla="*/ 545780 w 7222353"/>
              <a:gd name="connsiteY439" fmla="*/ 2147732 h 6303409"/>
              <a:gd name="connsiteX440" fmla="*/ 675541 w 7222353"/>
              <a:gd name="connsiteY440" fmla="*/ 2054146 h 6303409"/>
              <a:gd name="connsiteX441" fmla="*/ 861138 w 7222353"/>
              <a:gd name="connsiteY441" fmla="*/ 1962922 h 6303409"/>
              <a:gd name="connsiteX442" fmla="*/ 692842 w 7222353"/>
              <a:gd name="connsiteY442" fmla="*/ 1962922 h 6303409"/>
              <a:gd name="connsiteX443" fmla="*/ 652734 w 7222353"/>
              <a:gd name="connsiteY443" fmla="*/ 1999884 h 6303409"/>
              <a:gd name="connsiteX444" fmla="*/ 489944 w 7222353"/>
              <a:gd name="connsiteY444" fmla="*/ 2006961 h 6303409"/>
              <a:gd name="connsiteX445" fmla="*/ 478934 w 7222353"/>
              <a:gd name="connsiteY445" fmla="*/ 2054934 h 6303409"/>
              <a:gd name="connsiteX446" fmla="*/ 364115 w 7222353"/>
              <a:gd name="connsiteY446" fmla="*/ 2142227 h 6303409"/>
              <a:gd name="connsiteX447" fmla="*/ 275250 w 7222353"/>
              <a:gd name="connsiteY447" fmla="*/ 2187839 h 6303409"/>
              <a:gd name="connsiteX448" fmla="*/ 265813 w 7222353"/>
              <a:gd name="connsiteY448" fmla="*/ 2124139 h 6303409"/>
              <a:gd name="connsiteX449" fmla="*/ 293337 w 7222353"/>
              <a:gd name="connsiteY449" fmla="*/ 2080099 h 6303409"/>
              <a:gd name="connsiteX450" fmla="*/ 331874 w 7222353"/>
              <a:gd name="connsiteY450" fmla="*/ 2021117 h 6303409"/>
              <a:gd name="connsiteX451" fmla="*/ 371194 w 7222353"/>
              <a:gd name="connsiteY451" fmla="*/ 1981011 h 6303409"/>
              <a:gd name="connsiteX452" fmla="*/ 423885 w 7222353"/>
              <a:gd name="connsiteY452" fmla="*/ 1928320 h 6303409"/>
              <a:gd name="connsiteX453" fmla="*/ 469496 w 7222353"/>
              <a:gd name="connsiteY453" fmla="*/ 1923601 h 6303409"/>
              <a:gd name="connsiteX454" fmla="*/ 522974 w 7222353"/>
              <a:gd name="connsiteY454" fmla="*/ 1848890 h 6303409"/>
              <a:gd name="connsiteX455" fmla="*/ 614985 w 7222353"/>
              <a:gd name="connsiteY455" fmla="*/ 1848890 h 6303409"/>
              <a:gd name="connsiteX456" fmla="*/ 655093 w 7222353"/>
              <a:gd name="connsiteY456" fmla="*/ 1811141 h 6303409"/>
              <a:gd name="connsiteX457" fmla="*/ 771484 w 7222353"/>
              <a:gd name="connsiteY457" fmla="*/ 1811141 h 6303409"/>
              <a:gd name="connsiteX458" fmla="*/ 792717 w 7222353"/>
              <a:gd name="connsiteY458" fmla="*/ 1747442 h 6303409"/>
              <a:gd name="connsiteX459" fmla="*/ 939779 w 7222353"/>
              <a:gd name="connsiteY459" fmla="*/ 1681382 h 6303409"/>
              <a:gd name="connsiteX460" fmla="*/ 939779 w 7222353"/>
              <a:gd name="connsiteY460" fmla="*/ 1513086 h 6303409"/>
              <a:gd name="connsiteX461" fmla="*/ 1034151 w 7222353"/>
              <a:gd name="connsiteY461" fmla="*/ 1506795 h 6303409"/>
              <a:gd name="connsiteX462" fmla="*/ 1150542 w 7222353"/>
              <a:gd name="connsiteY462" fmla="*/ 1426579 h 6303409"/>
              <a:gd name="connsiteX463" fmla="*/ 1163911 w 7222353"/>
              <a:gd name="connsiteY463" fmla="*/ 1386471 h 6303409"/>
              <a:gd name="connsiteX464" fmla="*/ 1323556 w 7222353"/>
              <a:gd name="connsiteY464" fmla="*/ 1374675 h 6303409"/>
              <a:gd name="connsiteX465" fmla="*/ 1263001 w 7222353"/>
              <a:gd name="connsiteY465" fmla="*/ 1326704 h 6303409"/>
              <a:gd name="connsiteX466" fmla="*/ 1163911 w 7222353"/>
              <a:gd name="connsiteY466" fmla="*/ 1386471 h 6303409"/>
              <a:gd name="connsiteX467" fmla="*/ 1070326 w 7222353"/>
              <a:gd name="connsiteY467" fmla="*/ 1395910 h 6303409"/>
              <a:gd name="connsiteX468" fmla="*/ 1030219 w 7222353"/>
              <a:gd name="connsiteY468" fmla="*/ 1358946 h 6303409"/>
              <a:gd name="connsiteX469" fmla="*/ 950789 w 7222353"/>
              <a:gd name="connsiteY469" fmla="*/ 1391191 h 6303409"/>
              <a:gd name="connsiteX470" fmla="*/ 933488 w 7222353"/>
              <a:gd name="connsiteY470" fmla="*/ 1304684 h 6303409"/>
              <a:gd name="connsiteX471" fmla="*/ 1075045 w 7222353"/>
              <a:gd name="connsiteY471" fmla="*/ 1170204 h 6303409"/>
              <a:gd name="connsiteX472" fmla="*/ 1256709 w 7222353"/>
              <a:gd name="connsiteY472" fmla="*/ 1170204 h 6303409"/>
              <a:gd name="connsiteX473" fmla="*/ 1335352 w 7222353"/>
              <a:gd name="connsiteY473" fmla="*/ 1244127 h 6303409"/>
              <a:gd name="connsiteX474" fmla="*/ 1369955 w 7222353"/>
              <a:gd name="connsiteY474" fmla="*/ 1209526 h 6303409"/>
              <a:gd name="connsiteX475" fmla="*/ 1634194 w 7222353"/>
              <a:gd name="connsiteY475" fmla="*/ 1209526 h 6303409"/>
              <a:gd name="connsiteX476" fmla="*/ 1667223 w 7222353"/>
              <a:gd name="connsiteY476" fmla="*/ 1176495 h 6303409"/>
              <a:gd name="connsiteX477" fmla="*/ 1849675 w 7222353"/>
              <a:gd name="connsiteY477" fmla="*/ 1156836 h 6303409"/>
              <a:gd name="connsiteX478" fmla="*/ 1830013 w 7222353"/>
              <a:gd name="connsiteY478" fmla="*/ 1137962 h 6303409"/>
              <a:gd name="connsiteX479" fmla="*/ 1813498 w 7222353"/>
              <a:gd name="connsiteY479" fmla="*/ 1132457 h 6303409"/>
              <a:gd name="connsiteX480" fmla="*/ 1253563 w 7222353"/>
              <a:gd name="connsiteY480" fmla="*/ 1132457 h 6303409"/>
              <a:gd name="connsiteX481" fmla="*/ 1185144 w 7222353"/>
              <a:gd name="connsiteY481" fmla="*/ 1024715 h 6303409"/>
              <a:gd name="connsiteX482" fmla="*/ 1053025 w 7222353"/>
              <a:gd name="connsiteY482" fmla="*/ 931917 h 6303409"/>
              <a:gd name="connsiteX483" fmla="*/ 1053025 w 7222353"/>
              <a:gd name="connsiteY483" fmla="*/ 813952 h 6303409"/>
              <a:gd name="connsiteX484" fmla="*/ 1116836 w 7222353"/>
              <a:gd name="connsiteY484" fmla="*/ 677150 h 6303409"/>
              <a:gd name="connsiteX485" fmla="*/ 1123629 w 7222353"/>
              <a:gd name="connsiteY485" fmla="*/ 641841 h 6303409"/>
              <a:gd name="connsiteX486" fmla="*/ 1123803 w 7222353"/>
              <a:gd name="connsiteY486" fmla="*/ 641725 h 6303409"/>
              <a:gd name="connsiteX487" fmla="*/ 1124238 w 7222353"/>
              <a:gd name="connsiteY487" fmla="*/ 640939 h 6303409"/>
              <a:gd name="connsiteX488" fmla="*/ 1270865 w 7222353"/>
              <a:gd name="connsiteY488" fmla="*/ 640939 h 6303409"/>
              <a:gd name="connsiteX489" fmla="*/ 1357372 w 7222353"/>
              <a:gd name="connsiteY489" fmla="*/ 589034 h 6303409"/>
              <a:gd name="connsiteX490" fmla="*/ 1344789 w 7222353"/>
              <a:gd name="connsiteY490" fmla="*/ 537917 h 6303409"/>
              <a:gd name="connsiteX491" fmla="*/ 1218961 w 7222353"/>
              <a:gd name="connsiteY491" fmla="*/ 530051 h 6303409"/>
              <a:gd name="connsiteX492" fmla="*/ 1142210 w 7222353"/>
              <a:gd name="connsiteY492" fmla="*/ 608462 h 6303409"/>
              <a:gd name="connsiteX493" fmla="*/ 1124238 w 7222353"/>
              <a:gd name="connsiteY493" fmla="*/ 640939 h 6303409"/>
              <a:gd name="connsiteX494" fmla="*/ 1123803 w 7222353"/>
              <a:gd name="connsiteY494" fmla="*/ 640939 h 6303409"/>
              <a:gd name="connsiteX495" fmla="*/ 1123629 w 7222353"/>
              <a:gd name="connsiteY495" fmla="*/ 641841 h 6303409"/>
              <a:gd name="connsiteX496" fmla="*/ 1116726 w 7222353"/>
              <a:gd name="connsiteY496" fmla="*/ 646443 h 6303409"/>
              <a:gd name="connsiteX497" fmla="*/ 1088413 w 7222353"/>
              <a:gd name="connsiteY497" fmla="*/ 633074 h 6303409"/>
              <a:gd name="connsiteX498" fmla="*/ 1078190 w 7222353"/>
              <a:gd name="connsiteY498" fmla="*/ 548926 h 6303409"/>
              <a:gd name="connsiteX499" fmla="*/ 1189077 w 7222353"/>
              <a:gd name="connsiteY499" fmla="*/ 463992 h 6303409"/>
              <a:gd name="connsiteX500" fmla="*/ 1356585 w 7222353"/>
              <a:gd name="connsiteY500" fmla="*/ 419952 h 6303409"/>
              <a:gd name="connsiteX501" fmla="*/ 1456462 w 7222353"/>
              <a:gd name="connsiteY501" fmla="*/ 344455 h 6303409"/>
              <a:gd name="connsiteX502" fmla="*/ 1558697 w 7222353"/>
              <a:gd name="connsiteY502" fmla="*/ 267385 h 6303409"/>
              <a:gd name="connsiteX503" fmla="*/ 1629474 w 7222353"/>
              <a:gd name="connsiteY503" fmla="*/ 267385 h 6303409"/>
              <a:gd name="connsiteX504" fmla="*/ 1661719 w 7222353"/>
              <a:gd name="connsiteY504" fmla="*/ 235141 h 6303409"/>
              <a:gd name="connsiteX505" fmla="*/ 1766313 w 7222353"/>
              <a:gd name="connsiteY505" fmla="*/ 235141 h 6303409"/>
              <a:gd name="connsiteX506" fmla="*/ 1821362 w 7222353"/>
              <a:gd name="connsiteY506" fmla="*/ 193461 h 6303409"/>
              <a:gd name="connsiteX507" fmla="*/ 1926744 w 7222353"/>
              <a:gd name="connsiteY507" fmla="*/ 154140 h 6303409"/>
              <a:gd name="connsiteX508" fmla="*/ 2119418 w 7222353"/>
              <a:gd name="connsiteY508" fmla="*/ 154140 h 6303409"/>
              <a:gd name="connsiteX509" fmla="*/ 2158739 w 7222353"/>
              <a:gd name="connsiteY509" fmla="*/ 114818 h 6303409"/>
              <a:gd name="connsiteX510" fmla="*/ 2347481 w 7222353"/>
              <a:gd name="connsiteY510" fmla="*/ 114818 h 6303409"/>
              <a:gd name="connsiteX511" fmla="*/ 2381298 w 7222353"/>
              <a:gd name="connsiteY511" fmla="*/ 81002 h 6303409"/>
              <a:gd name="connsiteX512" fmla="*/ 2420619 w 7222353"/>
              <a:gd name="connsiteY512" fmla="*/ 115605 h 6303409"/>
              <a:gd name="connsiteX513" fmla="*/ 2446572 w 7222353"/>
              <a:gd name="connsiteY513" fmla="*/ 90439 h 6303409"/>
              <a:gd name="connsiteX514" fmla="*/ 2478814 w 7222353"/>
              <a:gd name="connsiteY514" fmla="*/ 79430 h 6303409"/>
              <a:gd name="connsiteX515" fmla="*/ 2686431 w 7222353"/>
              <a:gd name="connsiteY515" fmla="*/ 79430 h 6303409"/>
              <a:gd name="connsiteX516" fmla="*/ 2721820 w 7222353"/>
              <a:gd name="connsiteY516" fmla="*/ 3933 h 6303409"/>
              <a:gd name="connsiteX517" fmla="*/ 2794172 w 7222353"/>
              <a:gd name="connsiteY517" fmla="*/ 76284 h 6303409"/>
              <a:gd name="connsiteX518" fmla="*/ 3066276 w 7222353"/>
              <a:gd name="connsiteY518" fmla="*/ 76284 h 6303409"/>
              <a:gd name="connsiteX519" fmla="*/ 3080137 w 7222353"/>
              <a:gd name="connsiteY519" fmla="*/ 42401 h 6303409"/>
              <a:gd name="connsiteX520" fmla="*/ 3044857 w 7222353"/>
              <a:gd name="connsiteY520" fmla="*/ 41521 h 6303409"/>
              <a:gd name="connsiteX521" fmla="*/ 2920000 w 7222353"/>
              <a:gd name="connsiteY521" fmla="*/ 24379 h 6303409"/>
              <a:gd name="connsiteX522" fmla="*/ 3069422 w 7222353"/>
              <a:gd name="connsiteY522" fmla="*/ 9437 h 6303409"/>
              <a:gd name="connsiteX523" fmla="*/ 3082149 w 7222353"/>
              <a:gd name="connsiteY523" fmla="*/ 40880 h 6303409"/>
              <a:gd name="connsiteX524" fmla="*/ 3127616 w 7222353"/>
              <a:gd name="connsiteY524" fmla="*/ 19661 h 6303409"/>
              <a:gd name="connsiteX525" fmla="*/ 3188269 w 7222353"/>
              <a:gd name="connsiteY525" fmla="*/ 3048 h 6303409"/>
              <a:gd name="connsiteX526" fmla="*/ 2200420 w 7222353"/>
              <a:gd name="connsiteY526" fmla="*/ 0 h 6303409"/>
              <a:gd name="connsiteX527" fmla="*/ 2259404 w 7222353"/>
              <a:gd name="connsiteY527" fmla="*/ 69992 h 6303409"/>
              <a:gd name="connsiteX528" fmla="*/ 2084816 w 7222353"/>
              <a:gd name="connsiteY528" fmla="*/ 81002 h 6303409"/>
              <a:gd name="connsiteX529" fmla="*/ 2047067 w 7222353"/>
              <a:gd name="connsiteY529" fmla="*/ 114818 h 6303409"/>
              <a:gd name="connsiteX530" fmla="*/ 1988085 w 7222353"/>
              <a:gd name="connsiteY530" fmla="*/ 80216 h 6303409"/>
              <a:gd name="connsiteX531" fmla="*/ 1988085 w 7222353"/>
              <a:gd name="connsiteY531" fmla="*/ 80215 h 6303409"/>
              <a:gd name="connsiteX532" fmla="*/ 1986906 w 7222353"/>
              <a:gd name="connsiteY532" fmla="*/ 72646 h 6303409"/>
              <a:gd name="connsiteX533" fmla="*/ 1988085 w 7222353"/>
              <a:gd name="connsiteY533" fmla="*/ 59768 h 6303409"/>
              <a:gd name="connsiteX534" fmla="*/ 1988085 w 7222353"/>
              <a:gd name="connsiteY534" fmla="*/ 58982 h 6303409"/>
              <a:gd name="connsiteX535" fmla="*/ 2164245 w 7222353"/>
              <a:gd name="connsiteY535" fmla="*/ 36176 h 6303409"/>
              <a:gd name="connsiteX536" fmla="*/ 2200420 w 7222353"/>
              <a:gd name="connsiteY536" fmla="*/ 0 h 6303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Lst>
            <a:rect l="l" t="t" r="r" b="b"/>
            <a:pathLst>
              <a:path w="7222353" h="6303409">
                <a:moveTo>
                  <a:pt x="1057743" y="5106261"/>
                </a:moveTo>
                <a:cubicBezTo>
                  <a:pt x="1053025" y="5110979"/>
                  <a:pt x="1048306" y="5115698"/>
                  <a:pt x="1044373" y="5119631"/>
                </a:cubicBezTo>
                <a:cubicBezTo>
                  <a:pt x="1053025" y="5123563"/>
                  <a:pt x="1060889" y="5129067"/>
                  <a:pt x="1069540" y="5131427"/>
                </a:cubicBezTo>
                <a:cubicBezTo>
                  <a:pt x="1072686" y="5131427"/>
                  <a:pt x="1077404" y="5123563"/>
                  <a:pt x="1082123" y="5119631"/>
                </a:cubicBezTo>
                <a:cubicBezTo>
                  <a:pt x="1074259" y="5114912"/>
                  <a:pt x="1065607" y="5110193"/>
                  <a:pt x="1057743" y="5106261"/>
                </a:cubicBezTo>
                <a:close/>
                <a:moveTo>
                  <a:pt x="950004" y="5101542"/>
                </a:moveTo>
                <a:cubicBezTo>
                  <a:pt x="946071" y="5101542"/>
                  <a:pt x="937421" y="5110979"/>
                  <a:pt x="938206" y="5113338"/>
                </a:cubicBezTo>
                <a:cubicBezTo>
                  <a:pt x="940565" y="5121990"/>
                  <a:pt x="946857" y="5136932"/>
                  <a:pt x="951575" y="5136932"/>
                </a:cubicBezTo>
                <a:lnTo>
                  <a:pt x="1001097" y="5130742"/>
                </a:lnTo>
                <a:lnTo>
                  <a:pt x="1001121" y="5131427"/>
                </a:lnTo>
                <a:lnTo>
                  <a:pt x="1001907" y="5130640"/>
                </a:lnTo>
                <a:lnTo>
                  <a:pt x="1001097" y="5130742"/>
                </a:lnTo>
                <a:lnTo>
                  <a:pt x="1000335" y="5107834"/>
                </a:lnTo>
                <a:cubicBezTo>
                  <a:pt x="983819" y="5105475"/>
                  <a:pt x="966518" y="5102329"/>
                  <a:pt x="950004" y="5101542"/>
                </a:cubicBezTo>
                <a:close/>
                <a:moveTo>
                  <a:pt x="1106502" y="5030765"/>
                </a:moveTo>
                <a:cubicBezTo>
                  <a:pt x="1098637" y="5035483"/>
                  <a:pt x="1090773" y="5039415"/>
                  <a:pt x="1082123" y="5044134"/>
                </a:cubicBezTo>
                <a:cubicBezTo>
                  <a:pt x="1086054" y="5048066"/>
                  <a:pt x="1091560" y="5056716"/>
                  <a:pt x="1094705" y="5055930"/>
                </a:cubicBezTo>
                <a:cubicBezTo>
                  <a:pt x="1103355" y="5053571"/>
                  <a:pt x="1112007" y="5048066"/>
                  <a:pt x="1119871" y="5044134"/>
                </a:cubicBezTo>
                <a:cubicBezTo>
                  <a:pt x="1115938" y="5040201"/>
                  <a:pt x="1111221" y="5035483"/>
                  <a:pt x="1106502" y="5030765"/>
                </a:cubicBezTo>
                <a:close/>
                <a:moveTo>
                  <a:pt x="780134" y="5024079"/>
                </a:moveTo>
                <a:cubicBezTo>
                  <a:pt x="767552" y="5024079"/>
                  <a:pt x="754969" y="5030764"/>
                  <a:pt x="742386" y="5044134"/>
                </a:cubicBezTo>
                <a:cubicBezTo>
                  <a:pt x="767552" y="5070872"/>
                  <a:pt x="792717" y="5070872"/>
                  <a:pt x="817883" y="5044134"/>
                </a:cubicBezTo>
                <a:cubicBezTo>
                  <a:pt x="805300" y="5030764"/>
                  <a:pt x="792717" y="5024079"/>
                  <a:pt x="780134" y="5024079"/>
                </a:cubicBezTo>
                <a:close/>
                <a:moveTo>
                  <a:pt x="344456" y="5022113"/>
                </a:moveTo>
                <a:lnTo>
                  <a:pt x="344456" y="5023686"/>
                </a:lnTo>
                <a:lnTo>
                  <a:pt x="342655" y="5023933"/>
                </a:lnTo>
                <a:close/>
                <a:moveTo>
                  <a:pt x="1245699" y="4994588"/>
                </a:moveTo>
                <a:cubicBezTo>
                  <a:pt x="1242554" y="4994588"/>
                  <a:pt x="1237835" y="5002453"/>
                  <a:pt x="1233116" y="5006385"/>
                </a:cubicBezTo>
                <a:cubicBezTo>
                  <a:pt x="1240980" y="5011103"/>
                  <a:pt x="1249631" y="5015822"/>
                  <a:pt x="1257495" y="5019755"/>
                </a:cubicBezTo>
                <a:cubicBezTo>
                  <a:pt x="1262213" y="5015036"/>
                  <a:pt x="1266934" y="5010317"/>
                  <a:pt x="1270865" y="5006385"/>
                </a:cubicBezTo>
                <a:cubicBezTo>
                  <a:pt x="1262213" y="5002453"/>
                  <a:pt x="1254350" y="4996948"/>
                  <a:pt x="1245699" y="4994588"/>
                </a:cubicBezTo>
                <a:close/>
                <a:moveTo>
                  <a:pt x="688909" y="4990657"/>
                </a:moveTo>
                <a:cubicBezTo>
                  <a:pt x="680260" y="5000880"/>
                  <a:pt x="671608" y="5011103"/>
                  <a:pt x="677115" y="5020541"/>
                </a:cubicBezTo>
                <a:cubicBezTo>
                  <a:pt x="648015" y="5029192"/>
                  <a:pt x="618918" y="5026045"/>
                  <a:pt x="644084" y="5059076"/>
                </a:cubicBezTo>
                <a:cubicBezTo>
                  <a:pt x="652734" y="5048852"/>
                  <a:pt x="661385" y="5038628"/>
                  <a:pt x="655879" y="5029192"/>
                </a:cubicBezTo>
                <a:cubicBezTo>
                  <a:pt x="684978" y="5020541"/>
                  <a:pt x="714075" y="5023686"/>
                  <a:pt x="688909" y="4990657"/>
                </a:cubicBezTo>
                <a:close/>
                <a:moveTo>
                  <a:pt x="157287" y="4989083"/>
                </a:moveTo>
                <a:lnTo>
                  <a:pt x="267386" y="4989083"/>
                </a:lnTo>
                <a:cubicBezTo>
                  <a:pt x="288030" y="4997340"/>
                  <a:pt x="291863" y="5023292"/>
                  <a:pt x="314391" y="5027790"/>
                </a:cubicBezTo>
                <a:lnTo>
                  <a:pt x="342655" y="5023933"/>
                </a:lnTo>
                <a:lnTo>
                  <a:pt x="324912" y="5041819"/>
                </a:lnTo>
                <a:cubicBezTo>
                  <a:pt x="279759" y="5077396"/>
                  <a:pt x="237702" y="5045312"/>
                  <a:pt x="195035" y="5053570"/>
                </a:cubicBezTo>
                <a:cubicBezTo>
                  <a:pt x="174588" y="5084240"/>
                  <a:pt x="153354" y="5114911"/>
                  <a:pt x="124256" y="5158164"/>
                </a:cubicBezTo>
                <a:cubicBezTo>
                  <a:pt x="111674" y="5124348"/>
                  <a:pt x="98304" y="5107047"/>
                  <a:pt x="102237" y="5096823"/>
                </a:cubicBezTo>
                <a:cubicBezTo>
                  <a:pt x="117180" y="5059861"/>
                  <a:pt x="138412" y="5024472"/>
                  <a:pt x="157287" y="4989083"/>
                </a:cubicBezTo>
                <a:close/>
                <a:moveTo>
                  <a:pt x="1176494" y="4987511"/>
                </a:moveTo>
                <a:cubicBezTo>
                  <a:pt x="1172561" y="4991443"/>
                  <a:pt x="1163911" y="4996948"/>
                  <a:pt x="1164697" y="5000094"/>
                </a:cubicBezTo>
                <a:cubicBezTo>
                  <a:pt x="1167056" y="5008744"/>
                  <a:pt x="1172561" y="5017395"/>
                  <a:pt x="1176494" y="5025259"/>
                </a:cubicBezTo>
                <a:cubicBezTo>
                  <a:pt x="1180426" y="5021327"/>
                  <a:pt x="1189077" y="5015822"/>
                  <a:pt x="1188290" y="5012676"/>
                </a:cubicBezTo>
                <a:cubicBezTo>
                  <a:pt x="1185931" y="5004026"/>
                  <a:pt x="1180426" y="4995375"/>
                  <a:pt x="1176494" y="4987511"/>
                </a:cubicBezTo>
                <a:close/>
                <a:moveTo>
                  <a:pt x="874506" y="4987511"/>
                </a:moveTo>
                <a:cubicBezTo>
                  <a:pt x="870574" y="4991443"/>
                  <a:pt x="865855" y="4996161"/>
                  <a:pt x="861138" y="5000880"/>
                </a:cubicBezTo>
                <a:cubicBezTo>
                  <a:pt x="865855" y="5008744"/>
                  <a:pt x="869788" y="5016609"/>
                  <a:pt x="874506" y="5025259"/>
                </a:cubicBezTo>
                <a:cubicBezTo>
                  <a:pt x="878438" y="5021327"/>
                  <a:pt x="887089" y="5015822"/>
                  <a:pt x="886303" y="5012676"/>
                </a:cubicBezTo>
                <a:cubicBezTo>
                  <a:pt x="883943" y="5004026"/>
                  <a:pt x="878438" y="4995375"/>
                  <a:pt x="874506" y="4987511"/>
                </a:cubicBezTo>
                <a:close/>
                <a:moveTo>
                  <a:pt x="1321982" y="4955267"/>
                </a:moveTo>
                <a:cubicBezTo>
                  <a:pt x="1317265" y="4959986"/>
                  <a:pt x="1312545" y="4964704"/>
                  <a:pt x="1308613" y="4968636"/>
                </a:cubicBezTo>
                <a:cubicBezTo>
                  <a:pt x="1317265" y="4972569"/>
                  <a:pt x="1325128" y="4978074"/>
                  <a:pt x="1333779" y="4980433"/>
                </a:cubicBezTo>
                <a:cubicBezTo>
                  <a:pt x="1336924" y="4980433"/>
                  <a:pt x="1341643" y="4972569"/>
                  <a:pt x="1346361" y="4968636"/>
                </a:cubicBezTo>
                <a:cubicBezTo>
                  <a:pt x="1338498" y="4963918"/>
                  <a:pt x="1329849" y="4959200"/>
                  <a:pt x="1321982" y="4955267"/>
                </a:cubicBezTo>
                <a:close/>
                <a:moveTo>
                  <a:pt x="1931463" y="4874265"/>
                </a:moveTo>
                <a:cubicBezTo>
                  <a:pt x="1926744" y="4882129"/>
                  <a:pt x="1922026" y="4890780"/>
                  <a:pt x="1918093" y="4898645"/>
                </a:cubicBezTo>
                <a:cubicBezTo>
                  <a:pt x="1922811" y="4903363"/>
                  <a:pt x="1927530" y="4908082"/>
                  <a:pt x="1931463" y="4912014"/>
                </a:cubicBezTo>
                <a:cubicBezTo>
                  <a:pt x="1935394" y="4903363"/>
                  <a:pt x="1940900" y="4895499"/>
                  <a:pt x="1943259" y="4886848"/>
                </a:cubicBezTo>
                <a:cubicBezTo>
                  <a:pt x="1943259" y="4883703"/>
                  <a:pt x="1935394" y="4878984"/>
                  <a:pt x="1931463" y="4874265"/>
                </a:cubicBezTo>
                <a:close/>
                <a:moveTo>
                  <a:pt x="1736429" y="4843595"/>
                </a:moveTo>
                <a:cubicBezTo>
                  <a:pt x="1733284" y="4843595"/>
                  <a:pt x="1728564" y="4851459"/>
                  <a:pt x="1723846" y="4855392"/>
                </a:cubicBezTo>
                <a:cubicBezTo>
                  <a:pt x="1731710" y="4860110"/>
                  <a:pt x="1740361" y="4864828"/>
                  <a:pt x="1748225" y="4868761"/>
                </a:cubicBezTo>
                <a:cubicBezTo>
                  <a:pt x="1752944" y="4864042"/>
                  <a:pt x="1757662" y="4859324"/>
                  <a:pt x="1761594" y="4855392"/>
                </a:cubicBezTo>
                <a:cubicBezTo>
                  <a:pt x="1752944" y="4851459"/>
                  <a:pt x="1745080" y="4845954"/>
                  <a:pt x="1736429" y="4843595"/>
                </a:cubicBezTo>
                <a:close/>
                <a:moveTo>
                  <a:pt x="2103887" y="4840842"/>
                </a:moveTo>
                <a:cubicBezTo>
                  <a:pt x="2089141" y="4842218"/>
                  <a:pt x="2082455" y="4849099"/>
                  <a:pt x="2069086" y="4862469"/>
                </a:cubicBezTo>
                <a:cubicBezTo>
                  <a:pt x="2102117" y="4881343"/>
                  <a:pt x="2135933" y="4881343"/>
                  <a:pt x="2187050" y="4852245"/>
                </a:cubicBezTo>
                <a:cubicBezTo>
                  <a:pt x="2141437" y="4843595"/>
                  <a:pt x="2118632" y="4839466"/>
                  <a:pt x="2103887" y="4840842"/>
                </a:cubicBezTo>
                <a:close/>
                <a:moveTo>
                  <a:pt x="2389555" y="4798277"/>
                </a:moveTo>
                <a:cubicBezTo>
                  <a:pt x="2374810" y="4798769"/>
                  <a:pt x="2360065" y="4801521"/>
                  <a:pt x="2345910" y="4800342"/>
                </a:cubicBezTo>
                <a:cubicBezTo>
                  <a:pt x="2332539" y="4812925"/>
                  <a:pt x="2319171" y="4825508"/>
                  <a:pt x="2281424" y="4859324"/>
                </a:cubicBezTo>
                <a:cubicBezTo>
                  <a:pt x="2281424" y="4859324"/>
                  <a:pt x="2235023" y="4810565"/>
                  <a:pt x="2217721" y="4860110"/>
                </a:cubicBezTo>
                <a:cubicBezTo>
                  <a:pt x="2227159" y="4867187"/>
                  <a:pt x="2231877" y="4873479"/>
                  <a:pt x="2236596" y="4873479"/>
                </a:cubicBezTo>
                <a:cubicBezTo>
                  <a:pt x="2285354" y="4873479"/>
                  <a:pt x="2334898" y="4873479"/>
                  <a:pt x="2383658" y="4873479"/>
                </a:cubicBezTo>
                <a:lnTo>
                  <a:pt x="2384444" y="4874265"/>
                </a:lnTo>
                <a:cubicBezTo>
                  <a:pt x="2399387" y="4852245"/>
                  <a:pt x="2430843" y="4841236"/>
                  <a:pt x="2433202" y="4809779"/>
                </a:cubicBezTo>
                <a:cubicBezTo>
                  <a:pt x="2419046" y="4799555"/>
                  <a:pt x="2404301" y="4797785"/>
                  <a:pt x="2389555" y="4798277"/>
                </a:cubicBezTo>
                <a:close/>
                <a:moveTo>
                  <a:pt x="1157620" y="4157044"/>
                </a:moveTo>
                <a:lnTo>
                  <a:pt x="1157620" y="4194793"/>
                </a:lnTo>
                <a:cubicBezTo>
                  <a:pt x="1139533" y="4196366"/>
                  <a:pt x="1122231" y="4192433"/>
                  <a:pt x="1127736" y="4169627"/>
                </a:cubicBezTo>
                <a:cubicBezTo>
                  <a:pt x="1129308" y="4163335"/>
                  <a:pt x="1147397" y="4160976"/>
                  <a:pt x="1157620" y="4157044"/>
                </a:cubicBezTo>
                <a:close/>
                <a:moveTo>
                  <a:pt x="6952792" y="4120869"/>
                </a:moveTo>
                <a:cubicBezTo>
                  <a:pt x="6937850" y="4133452"/>
                  <a:pt x="6924480" y="4144462"/>
                  <a:pt x="6913470" y="4153899"/>
                </a:cubicBezTo>
                <a:cubicBezTo>
                  <a:pt x="6898528" y="4142103"/>
                  <a:pt x="6885946" y="4131879"/>
                  <a:pt x="6875722" y="4124015"/>
                </a:cubicBezTo>
                <a:cubicBezTo>
                  <a:pt x="6856848" y="4138171"/>
                  <a:pt x="6842692" y="4149181"/>
                  <a:pt x="6826176" y="4161763"/>
                </a:cubicBezTo>
                <a:lnTo>
                  <a:pt x="6720796" y="4161763"/>
                </a:lnTo>
                <a:cubicBezTo>
                  <a:pt x="6707426" y="4175132"/>
                  <a:pt x="6698776" y="4183784"/>
                  <a:pt x="6689340" y="4193220"/>
                </a:cubicBezTo>
                <a:cubicBezTo>
                  <a:pt x="6609910" y="4199512"/>
                  <a:pt x="6528908" y="4190074"/>
                  <a:pt x="6458130" y="4197939"/>
                </a:cubicBezTo>
                <a:cubicBezTo>
                  <a:pt x="6440828" y="4215240"/>
                  <a:pt x="6432178" y="4224678"/>
                  <a:pt x="6422740" y="4233328"/>
                </a:cubicBezTo>
                <a:lnTo>
                  <a:pt x="6423528" y="4232542"/>
                </a:lnTo>
                <a:lnTo>
                  <a:pt x="6197823" y="4232542"/>
                </a:lnTo>
                <a:cubicBezTo>
                  <a:pt x="6183667" y="4245911"/>
                  <a:pt x="6170298" y="4258494"/>
                  <a:pt x="6156142" y="4271077"/>
                </a:cubicBezTo>
                <a:lnTo>
                  <a:pt x="6096374" y="4271077"/>
                </a:lnTo>
                <a:cubicBezTo>
                  <a:pt x="6053121" y="4293096"/>
                  <a:pt x="6021664" y="4309611"/>
                  <a:pt x="5987848" y="4326913"/>
                </a:cubicBezTo>
                <a:cubicBezTo>
                  <a:pt x="6007508" y="4344215"/>
                  <a:pt x="6025595" y="4359943"/>
                  <a:pt x="6046830" y="4378817"/>
                </a:cubicBezTo>
                <a:cubicBezTo>
                  <a:pt x="6057052" y="4370167"/>
                  <a:pt x="6069635" y="4359157"/>
                  <a:pt x="6091656" y="4341069"/>
                </a:cubicBezTo>
                <a:lnTo>
                  <a:pt x="6240290" y="4341069"/>
                </a:lnTo>
                <a:cubicBezTo>
                  <a:pt x="6255232" y="4325340"/>
                  <a:pt x="6264668" y="4316690"/>
                  <a:pt x="6273320" y="4308038"/>
                </a:cubicBezTo>
                <a:lnTo>
                  <a:pt x="6461276" y="4308038"/>
                </a:lnTo>
                <a:cubicBezTo>
                  <a:pt x="6475431" y="4294669"/>
                  <a:pt x="6488800" y="4282087"/>
                  <a:pt x="6502956" y="4269504"/>
                </a:cubicBezTo>
                <a:lnTo>
                  <a:pt x="6612269" y="4269504"/>
                </a:lnTo>
                <a:cubicBezTo>
                  <a:pt x="6627998" y="4255349"/>
                  <a:pt x="6642153" y="4243552"/>
                  <a:pt x="6656309" y="4230969"/>
                </a:cubicBezTo>
                <a:lnTo>
                  <a:pt x="6878868" y="4230969"/>
                </a:lnTo>
                <a:cubicBezTo>
                  <a:pt x="6885158" y="4224678"/>
                  <a:pt x="6889091" y="4219173"/>
                  <a:pt x="6894596" y="4215240"/>
                </a:cubicBezTo>
                <a:cubicBezTo>
                  <a:pt x="6902460" y="4209736"/>
                  <a:pt x="6911898" y="4205803"/>
                  <a:pt x="6920548" y="4201085"/>
                </a:cubicBezTo>
                <a:cubicBezTo>
                  <a:pt x="6929985" y="4210522"/>
                  <a:pt x="6939422" y="4219959"/>
                  <a:pt x="6950432" y="4230969"/>
                </a:cubicBezTo>
                <a:cubicBezTo>
                  <a:pt x="6963015" y="4219959"/>
                  <a:pt x="6976385" y="4208950"/>
                  <a:pt x="6997618" y="4190861"/>
                </a:cubicBezTo>
                <a:lnTo>
                  <a:pt x="7154117" y="4190861"/>
                </a:lnTo>
                <a:cubicBezTo>
                  <a:pt x="7147826" y="4152327"/>
                  <a:pt x="7119514" y="4139744"/>
                  <a:pt x="7101426" y="4120869"/>
                </a:cubicBezTo>
                <a:close/>
                <a:moveTo>
                  <a:pt x="1195368" y="4119296"/>
                </a:moveTo>
                <a:cubicBezTo>
                  <a:pt x="1196155" y="4145248"/>
                  <a:pt x="1183573" y="4157831"/>
                  <a:pt x="1157620" y="4157044"/>
                </a:cubicBezTo>
                <a:cubicBezTo>
                  <a:pt x="1156833" y="4131092"/>
                  <a:pt x="1169417" y="4118509"/>
                  <a:pt x="1195368" y="4119296"/>
                </a:cubicBezTo>
                <a:close/>
                <a:moveTo>
                  <a:pt x="5817193" y="4117723"/>
                </a:moveTo>
                <a:lnTo>
                  <a:pt x="5817193" y="4119296"/>
                </a:lnTo>
                <a:cubicBezTo>
                  <a:pt x="5478243" y="4119296"/>
                  <a:pt x="5139294" y="4119296"/>
                  <a:pt x="4800344" y="4120083"/>
                </a:cubicBezTo>
                <a:cubicBezTo>
                  <a:pt x="4796412" y="4120083"/>
                  <a:pt x="4791693" y="4136597"/>
                  <a:pt x="4787760" y="4144462"/>
                </a:cubicBezTo>
                <a:cubicBezTo>
                  <a:pt x="4794053" y="4149181"/>
                  <a:pt x="4797984" y="4156259"/>
                  <a:pt x="4803490" y="4156259"/>
                </a:cubicBezTo>
                <a:cubicBezTo>
                  <a:pt x="4841238" y="4157045"/>
                  <a:pt x="4878200" y="4156259"/>
                  <a:pt x="4914376" y="4156259"/>
                </a:cubicBezTo>
                <a:cubicBezTo>
                  <a:pt x="4948978" y="4222318"/>
                  <a:pt x="5037844" y="4169628"/>
                  <a:pt x="5074020" y="4230969"/>
                </a:cubicBezTo>
                <a:cubicBezTo>
                  <a:pt x="5076380" y="4234901"/>
                  <a:pt x="5096040" y="4227823"/>
                  <a:pt x="5105478" y="4226251"/>
                </a:cubicBezTo>
                <a:cubicBezTo>
                  <a:pt x="5119634" y="4215240"/>
                  <a:pt x="5131429" y="4205803"/>
                  <a:pt x="5143226" y="4197153"/>
                </a:cubicBezTo>
                <a:cubicBezTo>
                  <a:pt x="5157382" y="4211309"/>
                  <a:pt x="5166032" y="4219959"/>
                  <a:pt x="5174682" y="4228610"/>
                </a:cubicBezTo>
                <a:cubicBezTo>
                  <a:pt x="5217150" y="4230969"/>
                  <a:pt x="5258830" y="4233328"/>
                  <a:pt x="5294219" y="4234901"/>
                </a:cubicBezTo>
                <a:cubicBezTo>
                  <a:pt x="5309948" y="4250629"/>
                  <a:pt x="5318599" y="4259280"/>
                  <a:pt x="5328036" y="4268718"/>
                </a:cubicBezTo>
                <a:lnTo>
                  <a:pt x="5515206" y="4268718"/>
                </a:lnTo>
                <a:cubicBezTo>
                  <a:pt x="5529361" y="4282087"/>
                  <a:pt x="5542730" y="4294669"/>
                  <a:pt x="5556885" y="4307252"/>
                </a:cubicBezTo>
                <a:lnTo>
                  <a:pt x="5667772" y="4307252"/>
                </a:lnTo>
                <a:cubicBezTo>
                  <a:pt x="5682714" y="4320621"/>
                  <a:pt x="5696084" y="4333204"/>
                  <a:pt x="5716530" y="4351292"/>
                </a:cubicBezTo>
                <a:cubicBezTo>
                  <a:pt x="5739336" y="4338709"/>
                  <a:pt x="5762929" y="4325340"/>
                  <a:pt x="5782590" y="4314331"/>
                </a:cubicBezTo>
                <a:cubicBezTo>
                  <a:pt x="5804610" y="4327700"/>
                  <a:pt x="5825058" y="4339495"/>
                  <a:pt x="5854942" y="4356798"/>
                </a:cubicBezTo>
                <a:cubicBezTo>
                  <a:pt x="5905272" y="4295455"/>
                  <a:pt x="5952458" y="4238047"/>
                  <a:pt x="5990992" y="4191647"/>
                </a:cubicBezTo>
                <a:lnTo>
                  <a:pt x="6121540" y="4191647"/>
                </a:lnTo>
                <a:cubicBezTo>
                  <a:pt x="6137268" y="4177491"/>
                  <a:pt x="6151424" y="4165695"/>
                  <a:pt x="6162434" y="4156259"/>
                </a:cubicBezTo>
                <a:cubicBezTo>
                  <a:pt x="6220630" y="4149967"/>
                  <a:pt x="6277252" y="4167269"/>
                  <a:pt x="6329156" y="4117723"/>
                </a:cubicBezTo>
                <a:cubicBezTo>
                  <a:pt x="6233212" y="4117723"/>
                  <a:pt x="6136482" y="4117723"/>
                  <a:pt x="6046042" y="4117723"/>
                </a:cubicBezTo>
                <a:cubicBezTo>
                  <a:pt x="6031100" y="4132665"/>
                  <a:pt x="6021664" y="4142103"/>
                  <a:pt x="6010654" y="4153113"/>
                </a:cubicBezTo>
                <a:cubicBezTo>
                  <a:pt x="5998070" y="4142889"/>
                  <a:pt x="5985488" y="4131879"/>
                  <a:pt x="5969760" y="4119296"/>
                </a:cubicBezTo>
                <a:lnTo>
                  <a:pt x="5895836" y="4119296"/>
                </a:lnTo>
                <a:cubicBezTo>
                  <a:pt x="5884826" y="4129520"/>
                  <a:pt x="5870670" y="4142103"/>
                  <a:pt x="5857300" y="4154686"/>
                </a:cubicBezTo>
                <a:cubicBezTo>
                  <a:pt x="5843930" y="4142889"/>
                  <a:pt x="5830562" y="4130306"/>
                  <a:pt x="5817193" y="4117723"/>
                </a:cubicBezTo>
                <a:close/>
                <a:moveTo>
                  <a:pt x="1279515" y="4019419"/>
                </a:moveTo>
                <a:cubicBezTo>
                  <a:pt x="1298390" y="4058741"/>
                  <a:pt x="1306255" y="4068178"/>
                  <a:pt x="1307040" y="4078402"/>
                </a:cubicBezTo>
                <a:cubicBezTo>
                  <a:pt x="1307040" y="4088625"/>
                  <a:pt x="1301535" y="4099635"/>
                  <a:pt x="1296817" y="4114577"/>
                </a:cubicBezTo>
                <a:lnTo>
                  <a:pt x="1194582" y="4114577"/>
                </a:lnTo>
                <a:cubicBezTo>
                  <a:pt x="1193795" y="4047731"/>
                  <a:pt x="1290525" y="4114577"/>
                  <a:pt x="1279515" y="4019419"/>
                </a:cubicBezTo>
                <a:close/>
                <a:moveTo>
                  <a:pt x="445151" y="3000971"/>
                </a:moveTo>
                <a:lnTo>
                  <a:pt x="443963" y="3002159"/>
                </a:lnTo>
                <a:cubicBezTo>
                  <a:pt x="442218" y="3003904"/>
                  <a:pt x="441875" y="3004248"/>
                  <a:pt x="442561" y="3003559"/>
                </a:cubicBezTo>
                <a:close/>
                <a:moveTo>
                  <a:pt x="453769" y="2992352"/>
                </a:moveTo>
                <a:lnTo>
                  <a:pt x="445151" y="3000971"/>
                </a:lnTo>
                <a:lnTo>
                  <a:pt x="453765" y="2992355"/>
                </a:lnTo>
                <a:close/>
                <a:moveTo>
                  <a:pt x="456127" y="2989992"/>
                </a:moveTo>
                <a:lnTo>
                  <a:pt x="453765" y="2992355"/>
                </a:lnTo>
                <a:lnTo>
                  <a:pt x="432230" y="3006760"/>
                </a:lnTo>
                <a:cubicBezTo>
                  <a:pt x="383384" y="3032179"/>
                  <a:pt x="344851" y="3006116"/>
                  <a:pt x="325581" y="3052908"/>
                </a:cubicBezTo>
                <a:cubicBezTo>
                  <a:pt x="335018" y="3077287"/>
                  <a:pt x="312998" y="3111890"/>
                  <a:pt x="344456" y="3136268"/>
                </a:cubicBezTo>
                <a:cubicBezTo>
                  <a:pt x="357038" y="3136268"/>
                  <a:pt x="368839" y="3137842"/>
                  <a:pt x="384562" y="3138628"/>
                </a:cubicBezTo>
                <a:cubicBezTo>
                  <a:pt x="396359" y="3113463"/>
                  <a:pt x="408155" y="3088297"/>
                  <a:pt x="419953" y="3062345"/>
                </a:cubicBezTo>
                <a:cubicBezTo>
                  <a:pt x="434107" y="3075714"/>
                  <a:pt x="447477" y="3087510"/>
                  <a:pt x="460060" y="3098521"/>
                </a:cubicBezTo>
                <a:cubicBezTo>
                  <a:pt x="475002" y="3085938"/>
                  <a:pt x="488371" y="3073355"/>
                  <a:pt x="500167" y="3063131"/>
                </a:cubicBezTo>
                <a:cubicBezTo>
                  <a:pt x="544207" y="3055267"/>
                  <a:pt x="590607" y="3081220"/>
                  <a:pt x="628354" y="3045043"/>
                </a:cubicBezTo>
                <a:cubicBezTo>
                  <a:pt x="593752" y="3003362"/>
                  <a:pt x="548140" y="3032461"/>
                  <a:pt x="498594" y="3022238"/>
                </a:cubicBezTo>
                <a:lnTo>
                  <a:pt x="497809" y="3022238"/>
                </a:lnTo>
                <a:cubicBezTo>
                  <a:pt x="479720" y="3008081"/>
                  <a:pt x="467137" y="2998644"/>
                  <a:pt x="456127" y="2989992"/>
                </a:cubicBezTo>
                <a:close/>
                <a:moveTo>
                  <a:pt x="2416688" y="2841359"/>
                </a:moveTo>
                <a:cubicBezTo>
                  <a:pt x="2411969" y="2846077"/>
                  <a:pt x="2407251" y="2850797"/>
                  <a:pt x="2403318" y="2854727"/>
                </a:cubicBezTo>
                <a:cubicBezTo>
                  <a:pt x="2411969" y="2858661"/>
                  <a:pt x="2419833" y="2864165"/>
                  <a:pt x="2428485" y="2866524"/>
                </a:cubicBezTo>
                <a:cubicBezTo>
                  <a:pt x="2431629" y="2866524"/>
                  <a:pt x="2436347" y="2858661"/>
                  <a:pt x="2441067" y="2854727"/>
                </a:cubicBezTo>
                <a:cubicBezTo>
                  <a:pt x="2433202" y="2850010"/>
                  <a:pt x="2424552" y="2845291"/>
                  <a:pt x="2416688" y="2841359"/>
                </a:cubicBezTo>
                <a:close/>
                <a:moveTo>
                  <a:pt x="3371409" y="2803611"/>
                </a:moveTo>
                <a:cubicBezTo>
                  <a:pt x="3363544" y="2808329"/>
                  <a:pt x="3355680" y="2812261"/>
                  <a:pt x="3347028" y="2816980"/>
                </a:cubicBezTo>
                <a:cubicBezTo>
                  <a:pt x="3350961" y="2820912"/>
                  <a:pt x="3356466" y="2829563"/>
                  <a:pt x="3359611" y="2828775"/>
                </a:cubicBezTo>
                <a:cubicBezTo>
                  <a:pt x="3368263" y="2826417"/>
                  <a:pt x="3376914" y="2820912"/>
                  <a:pt x="3384777" y="2816980"/>
                </a:cubicBezTo>
                <a:cubicBezTo>
                  <a:pt x="3380846" y="2813048"/>
                  <a:pt x="3376127" y="2808329"/>
                  <a:pt x="3371409" y="2803611"/>
                </a:cubicBezTo>
                <a:close/>
                <a:moveTo>
                  <a:pt x="2648684" y="1174923"/>
                </a:moveTo>
                <a:cubicBezTo>
                  <a:pt x="2643965" y="1182785"/>
                  <a:pt x="2639245" y="1191438"/>
                  <a:pt x="2635314" y="1199302"/>
                </a:cubicBezTo>
                <a:cubicBezTo>
                  <a:pt x="2640032" y="1204021"/>
                  <a:pt x="2644751" y="1208740"/>
                  <a:pt x="2648684" y="1212672"/>
                </a:cubicBezTo>
                <a:cubicBezTo>
                  <a:pt x="2652615" y="1204021"/>
                  <a:pt x="2658119" y="1196156"/>
                  <a:pt x="2660479" y="1187506"/>
                </a:cubicBezTo>
                <a:cubicBezTo>
                  <a:pt x="2660479" y="1184360"/>
                  <a:pt x="2652615" y="1179641"/>
                  <a:pt x="2648684" y="1174923"/>
                </a:cubicBezTo>
                <a:close/>
                <a:moveTo>
                  <a:pt x="2474981" y="1172465"/>
                </a:moveTo>
                <a:cubicBezTo>
                  <a:pt x="2462694" y="1172366"/>
                  <a:pt x="2452469" y="1180821"/>
                  <a:pt x="2444212" y="1203234"/>
                </a:cubicBezTo>
                <a:cubicBezTo>
                  <a:pt x="2467804" y="1213458"/>
                  <a:pt x="2489039" y="1221322"/>
                  <a:pt x="2518136" y="1193012"/>
                </a:cubicBezTo>
                <a:cubicBezTo>
                  <a:pt x="2501622" y="1181215"/>
                  <a:pt x="2487269" y="1172564"/>
                  <a:pt x="2474981" y="1172465"/>
                </a:cubicBezTo>
                <a:close/>
                <a:moveTo>
                  <a:pt x="1493620" y="573109"/>
                </a:moveTo>
                <a:cubicBezTo>
                  <a:pt x="1482021" y="568980"/>
                  <a:pt x="1471010" y="570159"/>
                  <a:pt x="1464325" y="595326"/>
                </a:cubicBezTo>
                <a:cubicBezTo>
                  <a:pt x="1486346" y="615772"/>
                  <a:pt x="1506792" y="614200"/>
                  <a:pt x="1526454" y="582743"/>
                </a:cubicBezTo>
                <a:cubicBezTo>
                  <a:pt x="1517409" y="586675"/>
                  <a:pt x="1505221" y="577238"/>
                  <a:pt x="1493620" y="573109"/>
                </a:cubicBezTo>
                <a:close/>
                <a:moveTo>
                  <a:pt x="5328822" y="193461"/>
                </a:moveTo>
                <a:cubicBezTo>
                  <a:pt x="5324890" y="202112"/>
                  <a:pt x="5319385" y="209976"/>
                  <a:pt x="5317026" y="218626"/>
                </a:cubicBezTo>
                <a:cubicBezTo>
                  <a:pt x="5317026" y="221772"/>
                  <a:pt x="5324890" y="226491"/>
                  <a:pt x="5328822" y="231209"/>
                </a:cubicBezTo>
                <a:cubicBezTo>
                  <a:pt x="5333541" y="223345"/>
                  <a:pt x="5338259" y="214695"/>
                  <a:pt x="5342192" y="206830"/>
                </a:cubicBezTo>
                <a:cubicBezTo>
                  <a:pt x="5337472" y="202112"/>
                  <a:pt x="5332754" y="197394"/>
                  <a:pt x="5328822" y="193461"/>
                </a:cubicBezTo>
                <a:close/>
                <a:moveTo>
                  <a:pt x="4158621" y="156499"/>
                </a:moveTo>
                <a:cubicBezTo>
                  <a:pt x="4154688" y="156499"/>
                  <a:pt x="4146038" y="165936"/>
                  <a:pt x="4146824" y="168296"/>
                </a:cubicBezTo>
                <a:cubicBezTo>
                  <a:pt x="4149183" y="176947"/>
                  <a:pt x="4154688" y="191888"/>
                  <a:pt x="4160193" y="191888"/>
                </a:cubicBezTo>
                <a:lnTo>
                  <a:pt x="4209715" y="185698"/>
                </a:lnTo>
                <a:lnTo>
                  <a:pt x="4209738" y="186383"/>
                </a:lnTo>
                <a:lnTo>
                  <a:pt x="4210524" y="185597"/>
                </a:lnTo>
                <a:lnTo>
                  <a:pt x="4209715" y="185698"/>
                </a:lnTo>
                <a:lnTo>
                  <a:pt x="4208951" y="162790"/>
                </a:lnTo>
                <a:cubicBezTo>
                  <a:pt x="4192437" y="160431"/>
                  <a:pt x="4175135" y="157285"/>
                  <a:pt x="4158621" y="156499"/>
                </a:cubicBezTo>
                <a:close/>
                <a:moveTo>
                  <a:pt x="4479482" y="154534"/>
                </a:moveTo>
                <a:cubicBezTo>
                  <a:pt x="4466900" y="154534"/>
                  <a:pt x="4454317" y="161218"/>
                  <a:pt x="4441734" y="174587"/>
                </a:cubicBezTo>
                <a:cubicBezTo>
                  <a:pt x="4466900" y="201326"/>
                  <a:pt x="4492066" y="201326"/>
                  <a:pt x="4517231" y="174587"/>
                </a:cubicBezTo>
                <a:cubicBezTo>
                  <a:pt x="4504648" y="161218"/>
                  <a:pt x="4492066" y="154534"/>
                  <a:pt x="4479482" y="154534"/>
                </a:cubicBezTo>
                <a:close/>
                <a:moveTo>
                  <a:pt x="2805968" y="125042"/>
                </a:moveTo>
                <a:cubicBezTo>
                  <a:pt x="2797317" y="127401"/>
                  <a:pt x="2788666" y="132906"/>
                  <a:pt x="2780803" y="136839"/>
                </a:cubicBezTo>
                <a:cubicBezTo>
                  <a:pt x="2784734" y="140771"/>
                  <a:pt x="2789453" y="145490"/>
                  <a:pt x="2794172" y="150207"/>
                </a:cubicBezTo>
                <a:cubicBezTo>
                  <a:pt x="2802036" y="145490"/>
                  <a:pt x="2809900" y="141557"/>
                  <a:pt x="2818550" y="136839"/>
                </a:cubicBezTo>
                <a:cubicBezTo>
                  <a:pt x="2814618" y="132906"/>
                  <a:pt x="2809114" y="124256"/>
                  <a:pt x="2805968" y="125042"/>
                </a:cubicBezTo>
                <a:close/>
                <a:moveTo>
                  <a:pt x="3560150" y="123470"/>
                </a:moveTo>
                <a:cubicBezTo>
                  <a:pt x="3552286" y="128188"/>
                  <a:pt x="3544422" y="132120"/>
                  <a:pt x="3535771" y="136839"/>
                </a:cubicBezTo>
                <a:cubicBezTo>
                  <a:pt x="3539704" y="140771"/>
                  <a:pt x="3545208" y="149422"/>
                  <a:pt x="3548354" y="148634"/>
                </a:cubicBezTo>
                <a:cubicBezTo>
                  <a:pt x="3557005" y="146275"/>
                  <a:pt x="3565655" y="140771"/>
                  <a:pt x="3573520" y="136839"/>
                </a:cubicBezTo>
                <a:cubicBezTo>
                  <a:pt x="3569588" y="132906"/>
                  <a:pt x="3564869" y="128188"/>
                  <a:pt x="3560150" y="123470"/>
                </a:cubicBezTo>
                <a:close/>
                <a:moveTo>
                  <a:pt x="5927292" y="123468"/>
                </a:moveTo>
                <a:cubicBezTo>
                  <a:pt x="5935157" y="128186"/>
                  <a:pt x="5943022" y="132118"/>
                  <a:pt x="5951672" y="136837"/>
                </a:cubicBezTo>
                <a:cubicBezTo>
                  <a:pt x="5947740" y="140769"/>
                  <a:pt x="5942234" y="149419"/>
                  <a:pt x="5939089" y="148633"/>
                </a:cubicBezTo>
                <a:cubicBezTo>
                  <a:pt x="5930438" y="146274"/>
                  <a:pt x="5921788" y="140769"/>
                  <a:pt x="5913924" y="136837"/>
                </a:cubicBezTo>
                <a:cubicBezTo>
                  <a:pt x="5917856" y="132904"/>
                  <a:pt x="5922574" y="128186"/>
                  <a:pt x="5927292" y="123468"/>
                </a:cubicBezTo>
                <a:close/>
                <a:moveTo>
                  <a:pt x="2724181" y="117965"/>
                </a:moveTo>
                <a:cubicBezTo>
                  <a:pt x="2719461" y="125829"/>
                  <a:pt x="2714742" y="134479"/>
                  <a:pt x="2710810" y="142343"/>
                </a:cubicBezTo>
                <a:cubicBezTo>
                  <a:pt x="2715529" y="147062"/>
                  <a:pt x="2720248" y="151781"/>
                  <a:pt x="2724181" y="155713"/>
                </a:cubicBezTo>
                <a:cubicBezTo>
                  <a:pt x="2728112" y="147062"/>
                  <a:pt x="2733617" y="139199"/>
                  <a:pt x="2735976" y="130547"/>
                </a:cubicBezTo>
                <a:cubicBezTo>
                  <a:pt x="2735976" y="127401"/>
                  <a:pt x="2728112" y="122683"/>
                  <a:pt x="2724181" y="117965"/>
                </a:cubicBezTo>
                <a:close/>
                <a:moveTo>
                  <a:pt x="1668010" y="117963"/>
                </a:moveTo>
                <a:lnTo>
                  <a:pt x="1761594" y="117963"/>
                </a:lnTo>
                <a:cubicBezTo>
                  <a:pt x="1692390" y="165149"/>
                  <a:pt x="1633408" y="214694"/>
                  <a:pt x="1558697" y="230422"/>
                </a:cubicBezTo>
                <a:cubicBezTo>
                  <a:pt x="1542182" y="233568"/>
                  <a:pt x="1524094" y="227277"/>
                  <a:pt x="1502861" y="225704"/>
                </a:cubicBezTo>
                <a:cubicBezTo>
                  <a:pt x="1504434" y="169868"/>
                  <a:pt x="1564988" y="210762"/>
                  <a:pt x="1581503" y="170654"/>
                </a:cubicBezTo>
                <a:cubicBezTo>
                  <a:pt x="1592513" y="143915"/>
                  <a:pt x="1649136" y="153353"/>
                  <a:pt x="1668010" y="117963"/>
                </a:cubicBezTo>
                <a:close/>
                <a:moveTo>
                  <a:pt x="3460274" y="116785"/>
                </a:moveTo>
                <a:cubicBezTo>
                  <a:pt x="3447691" y="116785"/>
                  <a:pt x="3435108" y="123470"/>
                  <a:pt x="3422526" y="136839"/>
                </a:cubicBezTo>
                <a:cubicBezTo>
                  <a:pt x="3447691" y="163576"/>
                  <a:pt x="3472857" y="163576"/>
                  <a:pt x="3498023" y="136839"/>
                </a:cubicBezTo>
                <a:cubicBezTo>
                  <a:pt x="3485440" y="123470"/>
                  <a:pt x="3472857" y="116785"/>
                  <a:pt x="3460274" y="116785"/>
                </a:cubicBezTo>
                <a:close/>
                <a:moveTo>
                  <a:pt x="2554311" y="116785"/>
                </a:moveTo>
                <a:cubicBezTo>
                  <a:pt x="2541729" y="116785"/>
                  <a:pt x="2529146" y="123470"/>
                  <a:pt x="2516563" y="136839"/>
                </a:cubicBezTo>
                <a:cubicBezTo>
                  <a:pt x="2541729" y="163576"/>
                  <a:pt x="2566894" y="163576"/>
                  <a:pt x="2592060" y="136839"/>
                </a:cubicBezTo>
                <a:cubicBezTo>
                  <a:pt x="2579477" y="123470"/>
                  <a:pt x="2566894" y="116785"/>
                  <a:pt x="2554311" y="116785"/>
                </a:cubicBezTo>
                <a:close/>
                <a:moveTo>
                  <a:pt x="3116705" y="115507"/>
                </a:moveTo>
                <a:cubicBezTo>
                  <a:pt x="3104417" y="115409"/>
                  <a:pt x="3094193" y="123863"/>
                  <a:pt x="3085936" y="146275"/>
                </a:cubicBezTo>
                <a:cubicBezTo>
                  <a:pt x="3109528" y="156499"/>
                  <a:pt x="3130762" y="164363"/>
                  <a:pt x="3159860" y="136051"/>
                </a:cubicBezTo>
                <a:cubicBezTo>
                  <a:pt x="3143345" y="124256"/>
                  <a:pt x="3128993" y="115605"/>
                  <a:pt x="3116705" y="115507"/>
                </a:cubicBezTo>
                <a:close/>
                <a:moveTo>
                  <a:pt x="1988085" y="80215"/>
                </a:moveTo>
                <a:lnTo>
                  <a:pt x="1982580" y="106659"/>
                </a:lnTo>
                <a:cubicBezTo>
                  <a:pt x="1977469" y="113048"/>
                  <a:pt x="1969604" y="116783"/>
                  <a:pt x="1960560" y="117177"/>
                </a:cubicBezTo>
                <a:cubicBezTo>
                  <a:pt x="1894500" y="119536"/>
                  <a:pt x="1827655" y="117963"/>
                  <a:pt x="1761594" y="117963"/>
                </a:cubicBezTo>
                <a:cubicBezTo>
                  <a:pt x="1757662" y="95944"/>
                  <a:pt x="1771034" y="81788"/>
                  <a:pt x="1789119" y="81002"/>
                </a:cubicBezTo>
                <a:close/>
                <a:moveTo>
                  <a:pt x="3359613" y="11795"/>
                </a:moveTo>
                <a:cubicBezTo>
                  <a:pt x="3368263" y="14154"/>
                  <a:pt x="3376914" y="19659"/>
                  <a:pt x="3384779" y="23592"/>
                </a:cubicBezTo>
                <a:cubicBezTo>
                  <a:pt x="3380846" y="27524"/>
                  <a:pt x="3376127" y="32242"/>
                  <a:pt x="3371409" y="36961"/>
                </a:cubicBezTo>
                <a:cubicBezTo>
                  <a:pt x="3363545" y="32242"/>
                  <a:pt x="3355680" y="28310"/>
                  <a:pt x="3347029" y="23592"/>
                </a:cubicBezTo>
                <a:cubicBezTo>
                  <a:pt x="3350962" y="19659"/>
                  <a:pt x="3356466" y="11009"/>
                  <a:pt x="3359613" y="11795"/>
                </a:cubicBezTo>
                <a:close/>
                <a:moveTo>
                  <a:pt x="2352987" y="11795"/>
                </a:moveTo>
                <a:cubicBezTo>
                  <a:pt x="2356132" y="11795"/>
                  <a:pt x="2360851" y="19659"/>
                  <a:pt x="2365570" y="23592"/>
                </a:cubicBezTo>
                <a:cubicBezTo>
                  <a:pt x="2357705" y="28310"/>
                  <a:pt x="2349054" y="33028"/>
                  <a:pt x="2341191" y="36961"/>
                </a:cubicBezTo>
                <a:cubicBezTo>
                  <a:pt x="2336472" y="32242"/>
                  <a:pt x="2331754" y="27523"/>
                  <a:pt x="2327821" y="23592"/>
                </a:cubicBezTo>
                <a:cubicBezTo>
                  <a:pt x="2336472" y="19659"/>
                  <a:pt x="2344337" y="14154"/>
                  <a:pt x="2352987" y="11795"/>
                </a:cubicBezTo>
                <a:close/>
                <a:moveTo>
                  <a:pt x="2540943" y="10222"/>
                </a:moveTo>
                <a:cubicBezTo>
                  <a:pt x="2545662" y="14940"/>
                  <a:pt x="2550380" y="19659"/>
                  <a:pt x="2554313" y="23591"/>
                </a:cubicBezTo>
                <a:cubicBezTo>
                  <a:pt x="2545662" y="27523"/>
                  <a:pt x="2537797" y="33028"/>
                  <a:pt x="2529147" y="35388"/>
                </a:cubicBezTo>
                <a:cubicBezTo>
                  <a:pt x="2526001" y="35388"/>
                  <a:pt x="2521283" y="27523"/>
                  <a:pt x="2516565" y="23591"/>
                </a:cubicBezTo>
                <a:cubicBezTo>
                  <a:pt x="2524429" y="18873"/>
                  <a:pt x="2533079" y="14154"/>
                  <a:pt x="2540943" y="10222"/>
                </a:cubicBezTo>
                <a:close/>
                <a:moveTo>
                  <a:pt x="3479149" y="4717"/>
                </a:moveTo>
                <a:cubicBezTo>
                  <a:pt x="3483082" y="8650"/>
                  <a:pt x="3487800" y="13368"/>
                  <a:pt x="3492518" y="18086"/>
                </a:cubicBezTo>
                <a:cubicBezTo>
                  <a:pt x="3487800" y="25951"/>
                  <a:pt x="3483868" y="33815"/>
                  <a:pt x="3479149" y="42466"/>
                </a:cubicBezTo>
                <a:cubicBezTo>
                  <a:pt x="3475217" y="38534"/>
                  <a:pt x="3466566" y="33028"/>
                  <a:pt x="3467352" y="29883"/>
                </a:cubicBezTo>
                <a:cubicBezTo>
                  <a:pt x="3469712" y="21233"/>
                  <a:pt x="3475217" y="12582"/>
                  <a:pt x="3479149" y="4717"/>
                </a:cubicBezTo>
                <a:close/>
                <a:moveTo>
                  <a:pt x="3188269" y="3048"/>
                </a:moveTo>
                <a:cubicBezTo>
                  <a:pt x="3209208" y="2950"/>
                  <a:pt x="3230638" y="5899"/>
                  <a:pt x="3251872" y="4720"/>
                </a:cubicBezTo>
                <a:cubicBezTo>
                  <a:pt x="3268386" y="3933"/>
                  <a:pt x="3285687" y="9437"/>
                  <a:pt x="3310068" y="13370"/>
                </a:cubicBezTo>
                <a:cubicBezTo>
                  <a:pt x="3265241" y="68419"/>
                  <a:pt x="3200754" y="17302"/>
                  <a:pt x="3159860" y="56623"/>
                </a:cubicBezTo>
                <a:cubicBezTo>
                  <a:pt x="3161432" y="61341"/>
                  <a:pt x="3163793" y="69207"/>
                  <a:pt x="3165366" y="69207"/>
                </a:cubicBezTo>
                <a:cubicBezTo>
                  <a:pt x="3294339" y="74710"/>
                  <a:pt x="3424098" y="78643"/>
                  <a:pt x="3548354" y="83361"/>
                </a:cubicBezTo>
                <a:cubicBezTo>
                  <a:pt x="3562510" y="69207"/>
                  <a:pt x="3571161" y="60556"/>
                  <a:pt x="3586103" y="45613"/>
                </a:cubicBezTo>
                <a:cubicBezTo>
                  <a:pt x="3596326" y="53478"/>
                  <a:pt x="3608122" y="62129"/>
                  <a:pt x="3626996" y="75497"/>
                </a:cubicBezTo>
                <a:lnTo>
                  <a:pt x="3738669" y="75497"/>
                </a:lnTo>
                <a:cubicBezTo>
                  <a:pt x="3748893" y="68419"/>
                  <a:pt x="3767767" y="55050"/>
                  <a:pt x="3794505" y="36963"/>
                </a:cubicBezTo>
                <a:cubicBezTo>
                  <a:pt x="3811020" y="47185"/>
                  <a:pt x="3831468" y="58982"/>
                  <a:pt x="3853487" y="71565"/>
                </a:cubicBezTo>
                <a:cubicBezTo>
                  <a:pt x="3872361" y="60556"/>
                  <a:pt x="3896741" y="47973"/>
                  <a:pt x="3924266" y="32243"/>
                </a:cubicBezTo>
                <a:cubicBezTo>
                  <a:pt x="3939994" y="65274"/>
                  <a:pt x="3952577" y="90439"/>
                  <a:pt x="3964374" y="114818"/>
                </a:cubicBezTo>
                <a:cubicBezTo>
                  <a:pt x="3977742" y="114818"/>
                  <a:pt x="3997403" y="121109"/>
                  <a:pt x="4000549" y="116391"/>
                </a:cubicBezTo>
                <a:cubicBezTo>
                  <a:pt x="4028860" y="72351"/>
                  <a:pt x="4097280" y="93585"/>
                  <a:pt x="4114581" y="39322"/>
                </a:cubicBezTo>
                <a:cubicBezTo>
                  <a:pt x="4132668" y="55050"/>
                  <a:pt x="4145251" y="66847"/>
                  <a:pt x="4157834" y="77858"/>
                </a:cubicBezTo>
                <a:cubicBezTo>
                  <a:pt x="4168057" y="67633"/>
                  <a:pt x="4176708" y="58982"/>
                  <a:pt x="4190078" y="45613"/>
                </a:cubicBezTo>
                <a:lnTo>
                  <a:pt x="4277371" y="45613"/>
                </a:lnTo>
                <a:cubicBezTo>
                  <a:pt x="4285236" y="66847"/>
                  <a:pt x="4293099" y="88080"/>
                  <a:pt x="4300964" y="110886"/>
                </a:cubicBezTo>
                <a:cubicBezTo>
                  <a:pt x="4323376" y="116784"/>
                  <a:pt x="4346232" y="123125"/>
                  <a:pt x="4357586" y="105689"/>
                </a:cubicBezTo>
                <a:lnTo>
                  <a:pt x="4363295" y="84507"/>
                </a:lnTo>
                <a:lnTo>
                  <a:pt x="4347953" y="71268"/>
                </a:lnTo>
                <a:cubicBezTo>
                  <a:pt x="4341858" y="66058"/>
                  <a:pt x="4336746" y="61732"/>
                  <a:pt x="4331634" y="57407"/>
                </a:cubicBezTo>
                <a:cubicBezTo>
                  <a:pt x="4356407" y="37943"/>
                  <a:pt x="4360831" y="49886"/>
                  <a:pt x="4365143" y="69351"/>
                </a:cubicBezTo>
                <a:lnTo>
                  <a:pt x="4367546" y="79430"/>
                </a:lnTo>
                <a:lnTo>
                  <a:pt x="4420500" y="79430"/>
                </a:lnTo>
                <a:cubicBezTo>
                  <a:pt x="4433870" y="92013"/>
                  <a:pt x="4447238" y="103809"/>
                  <a:pt x="4463754" y="119538"/>
                </a:cubicBezTo>
                <a:cubicBezTo>
                  <a:pt x="4472404" y="95159"/>
                  <a:pt x="4479482" y="73138"/>
                  <a:pt x="4488133" y="49545"/>
                </a:cubicBezTo>
                <a:cubicBezTo>
                  <a:pt x="4528241" y="51906"/>
                  <a:pt x="4535318" y="98303"/>
                  <a:pt x="4575426" y="106955"/>
                </a:cubicBezTo>
                <a:cubicBezTo>
                  <a:pt x="4586436" y="100663"/>
                  <a:pt x="4605310" y="90439"/>
                  <a:pt x="4627330" y="77858"/>
                </a:cubicBezTo>
                <a:cubicBezTo>
                  <a:pt x="4650924" y="91225"/>
                  <a:pt x="4676089" y="105381"/>
                  <a:pt x="4709118" y="123470"/>
                </a:cubicBezTo>
                <a:cubicBezTo>
                  <a:pt x="4726420" y="110886"/>
                  <a:pt x="4744508" y="96731"/>
                  <a:pt x="4764168" y="81790"/>
                </a:cubicBezTo>
                <a:cubicBezTo>
                  <a:pt x="4771246" y="88866"/>
                  <a:pt x="4779897" y="97517"/>
                  <a:pt x="4797198" y="116391"/>
                </a:cubicBezTo>
                <a:cubicBezTo>
                  <a:pt x="4842024" y="123470"/>
                  <a:pt x="4897861" y="114032"/>
                  <a:pt x="4951338" y="119538"/>
                </a:cubicBezTo>
                <a:cubicBezTo>
                  <a:pt x="4964706" y="131333"/>
                  <a:pt x="4978076" y="143130"/>
                  <a:pt x="4993804" y="157285"/>
                </a:cubicBezTo>
                <a:cubicBezTo>
                  <a:pt x="5002456" y="132120"/>
                  <a:pt x="5010320" y="110886"/>
                  <a:pt x="5018184" y="87293"/>
                </a:cubicBezTo>
                <a:cubicBezTo>
                  <a:pt x="5055933" y="94372"/>
                  <a:pt x="5070088" y="131333"/>
                  <a:pt x="5100759" y="154140"/>
                </a:cubicBezTo>
                <a:cubicBezTo>
                  <a:pt x="5112555" y="129761"/>
                  <a:pt x="5124352" y="106169"/>
                  <a:pt x="5137720" y="77858"/>
                </a:cubicBezTo>
                <a:cubicBezTo>
                  <a:pt x="5151090" y="106169"/>
                  <a:pt x="5162886" y="131333"/>
                  <a:pt x="5176256" y="160431"/>
                </a:cubicBezTo>
                <a:cubicBezTo>
                  <a:pt x="5189625" y="131333"/>
                  <a:pt x="5201421" y="106169"/>
                  <a:pt x="5216364" y="73138"/>
                </a:cubicBezTo>
                <a:cubicBezTo>
                  <a:pt x="5226586" y="102236"/>
                  <a:pt x="5233664" y="124256"/>
                  <a:pt x="5243889" y="154140"/>
                </a:cubicBezTo>
                <a:cubicBezTo>
                  <a:pt x="5261976" y="141557"/>
                  <a:pt x="5279277" y="130547"/>
                  <a:pt x="5303656" y="114032"/>
                </a:cubicBezTo>
                <a:cubicBezTo>
                  <a:pt x="5320172" y="123470"/>
                  <a:pt x="5340618" y="134479"/>
                  <a:pt x="5367357" y="149422"/>
                </a:cubicBezTo>
                <a:cubicBezTo>
                  <a:pt x="5373648" y="144702"/>
                  <a:pt x="5386232" y="134479"/>
                  <a:pt x="5402746" y="121109"/>
                </a:cubicBezTo>
                <a:lnTo>
                  <a:pt x="5474312" y="121109"/>
                </a:lnTo>
                <a:cubicBezTo>
                  <a:pt x="5490040" y="132120"/>
                  <a:pt x="5508914" y="146275"/>
                  <a:pt x="5534080" y="164363"/>
                </a:cubicBezTo>
                <a:cubicBezTo>
                  <a:pt x="5553740" y="150207"/>
                  <a:pt x="5572614" y="136051"/>
                  <a:pt x="5592276" y="121897"/>
                </a:cubicBezTo>
                <a:cubicBezTo>
                  <a:pt x="5603286" y="132120"/>
                  <a:pt x="5616654" y="143916"/>
                  <a:pt x="5629237" y="154926"/>
                </a:cubicBezTo>
                <a:cubicBezTo>
                  <a:pt x="5642606" y="143130"/>
                  <a:pt x="5655189" y="131333"/>
                  <a:pt x="5667772" y="120323"/>
                </a:cubicBezTo>
                <a:cubicBezTo>
                  <a:pt x="5682714" y="133693"/>
                  <a:pt x="5696870" y="145490"/>
                  <a:pt x="5714957" y="161218"/>
                </a:cubicBezTo>
                <a:cubicBezTo>
                  <a:pt x="5738550" y="149422"/>
                  <a:pt x="5762929" y="136839"/>
                  <a:pt x="5786523" y="124256"/>
                </a:cubicBezTo>
                <a:cubicBezTo>
                  <a:pt x="5794386" y="145490"/>
                  <a:pt x="5803037" y="167509"/>
                  <a:pt x="5814832" y="197394"/>
                </a:cubicBezTo>
                <a:cubicBezTo>
                  <a:pt x="5829776" y="166723"/>
                  <a:pt x="5840786" y="143916"/>
                  <a:pt x="5851795" y="120323"/>
                </a:cubicBezTo>
                <a:cubicBezTo>
                  <a:pt x="5883252" y="129761"/>
                  <a:pt x="5869884" y="158858"/>
                  <a:pt x="5879320" y="179305"/>
                </a:cubicBezTo>
                <a:cubicBezTo>
                  <a:pt x="5903700" y="208405"/>
                  <a:pt x="5938302" y="182451"/>
                  <a:pt x="5964254" y="195821"/>
                </a:cubicBezTo>
                <a:cubicBezTo>
                  <a:pt x="5980769" y="180879"/>
                  <a:pt x="5994139" y="168296"/>
                  <a:pt x="6007508" y="154926"/>
                </a:cubicBezTo>
                <a:lnTo>
                  <a:pt x="6063344" y="154926"/>
                </a:lnTo>
                <a:cubicBezTo>
                  <a:pt x="6067276" y="165149"/>
                  <a:pt x="6069635" y="183238"/>
                  <a:pt x="6075926" y="184810"/>
                </a:cubicBezTo>
                <a:cubicBezTo>
                  <a:pt x="6087330" y="187563"/>
                  <a:pt x="6094015" y="184614"/>
                  <a:pt x="6097652" y="178716"/>
                </a:cubicBezTo>
                <a:lnTo>
                  <a:pt x="6100979" y="155712"/>
                </a:lnTo>
                <a:lnTo>
                  <a:pt x="6064917" y="155712"/>
                </a:lnTo>
                <a:cubicBezTo>
                  <a:pt x="6063344" y="137623"/>
                  <a:pt x="6067276" y="120321"/>
                  <a:pt x="6090082" y="125827"/>
                </a:cubicBezTo>
                <a:cubicBezTo>
                  <a:pt x="6093228" y="126613"/>
                  <a:pt x="6095392" y="131529"/>
                  <a:pt x="6097258" y="137525"/>
                </a:cubicBezTo>
                <a:lnTo>
                  <a:pt x="6102432" y="154926"/>
                </a:lnTo>
                <a:lnTo>
                  <a:pt x="6194676" y="154926"/>
                </a:lnTo>
                <a:cubicBezTo>
                  <a:pt x="6208832" y="168296"/>
                  <a:pt x="6222202" y="180879"/>
                  <a:pt x="6233998" y="191888"/>
                </a:cubicBezTo>
                <a:lnTo>
                  <a:pt x="6307922" y="191888"/>
                </a:lnTo>
                <a:cubicBezTo>
                  <a:pt x="6322864" y="179305"/>
                  <a:pt x="6336234" y="168296"/>
                  <a:pt x="6348816" y="157285"/>
                </a:cubicBezTo>
                <a:cubicBezTo>
                  <a:pt x="6359826" y="168296"/>
                  <a:pt x="6368478" y="176947"/>
                  <a:pt x="6384206" y="192674"/>
                </a:cubicBezTo>
                <a:lnTo>
                  <a:pt x="6497452" y="192674"/>
                </a:lnTo>
                <a:cubicBezTo>
                  <a:pt x="6513180" y="208405"/>
                  <a:pt x="6521831" y="217054"/>
                  <a:pt x="6530482" y="225705"/>
                </a:cubicBezTo>
                <a:lnTo>
                  <a:pt x="6765622" y="225705"/>
                </a:lnTo>
                <a:cubicBezTo>
                  <a:pt x="6778992" y="212335"/>
                  <a:pt x="6787642" y="203684"/>
                  <a:pt x="6797080" y="194247"/>
                </a:cubicBezTo>
                <a:cubicBezTo>
                  <a:pt x="6805730" y="202112"/>
                  <a:pt x="6815167" y="209189"/>
                  <a:pt x="6823818" y="217054"/>
                </a:cubicBezTo>
                <a:cubicBezTo>
                  <a:pt x="6834828" y="221772"/>
                  <a:pt x="6845052" y="228851"/>
                  <a:pt x="6856062" y="229637"/>
                </a:cubicBezTo>
                <a:cubicBezTo>
                  <a:pt x="6900101" y="231209"/>
                  <a:pt x="6944141" y="229637"/>
                  <a:pt x="6986608" y="229637"/>
                </a:cubicBezTo>
                <a:cubicBezTo>
                  <a:pt x="7000764" y="242220"/>
                  <a:pt x="7013346" y="254016"/>
                  <a:pt x="7025930" y="265025"/>
                </a:cubicBezTo>
                <a:cubicBezTo>
                  <a:pt x="7040086" y="253229"/>
                  <a:pt x="7052668" y="242220"/>
                  <a:pt x="7065250" y="231996"/>
                </a:cubicBezTo>
                <a:cubicBezTo>
                  <a:pt x="7076261" y="243006"/>
                  <a:pt x="7085698" y="252443"/>
                  <a:pt x="7097494" y="264239"/>
                </a:cubicBezTo>
                <a:lnTo>
                  <a:pt x="7222353" y="264239"/>
                </a:lnTo>
                <a:lnTo>
                  <a:pt x="7222353" y="6303409"/>
                </a:lnTo>
                <a:lnTo>
                  <a:pt x="552517" y="6303409"/>
                </a:lnTo>
                <a:lnTo>
                  <a:pt x="545977" y="6277250"/>
                </a:lnTo>
                <a:cubicBezTo>
                  <a:pt x="534574" y="6247366"/>
                  <a:pt x="519828" y="6218661"/>
                  <a:pt x="502527" y="6190743"/>
                </a:cubicBezTo>
                <a:cubicBezTo>
                  <a:pt x="489944" y="6190743"/>
                  <a:pt x="477362" y="6190743"/>
                  <a:pt x="469496" y="6190743"/>
                </a:cubicBezTo>
                <a:cubicBezTo>
                  <a:pt x="422312" y="6145130"/>
                  <a:pt x="376698" y="6101876"/>
                  <a:pt x="333445" y="6060196"/>
                </a:cubicBezTo>
                <a:lnTo>
                  <a:pt x="333445" y="5942232"/>
                </a:lnTo>
                <a:cubicBezTo>
                  <a:pt x="386922" y="5903697"/>
                  <a:pt x="415234" y="5847074"/>
                  <a:pt x="438039" y="5786520"/>
                </a:cubicBezTo>
                <a:cubicBezTo>
                  <a:pt x="403437" y="5766073"/>
                  <a:pt x="365688" y="5780228"/>
                  <a:pt x="329513" y="5775509"/>
                </a:cubicBezTo>
                <a:cubicBezTo>
                  <a:pt x="278396" y="5745625"/>
                  <a:pt x="216267" y="5734616"/>
                  <a:pt x="181665" y="5677207"/>
                </a:cubicBezTo>
                <a:lnTo>
                  <a:pt x="181665" y="5567107"/>
                </a:lnTo>
                <a:cubicBezTo>
                  <a:pt x="162792" y="5548233"/>
                  <a:pt x="145489" y="5530932"/>
                  <a:pt x="126618" y="5512056"/>
                </a:cubicBezTo>
                <a:lnTo>
                  <a:pt x="51907" y="5512056"/>
                </a:lnTo>
                <a:cubicBezTo>
                  <a:pt x="35392" y="5480600"/>
                  <a:pt x="19661" y="5449929"/>
                  <a:pt x="0" y="5412968"/>
                </a:cubicBezTo>
                <a:cubicBezTo>
                  <a:pt x="32248" y="5379151"/>
                  <a:pt x="69206" y="5340617"/>
                  <a:pt x="107741" y="5300508"/>
                </a:cubicBezTo>
                <a:lnTo>
                  <a:pt x="107741" y="5226584"/>
                </a:lnTo>
                <a:cubicBezTo>
                  <a:pt x="139984" y="5210069"/>
                  <a:pt x="170655" y="5194341"/>
                  <a:pt x="204472" y="5177040"/>
                </a:cubicBezTo>
                <a:cubicBezTo>
                  <a:pt x="213122" y="5184904"/>
                  <a:pt x="226493" y="5196700"/>
                  <a:pt x="239861" y="5208497"/>
                </a:cubicBezTo>
                <a:cubicBezTo>
                  <a:pt x="248515" y="5199846"/>
                  <a:pt x="257948" y="5190409"/>
                  <a:pt x="272890" y="5175467"/>
                </a:cubicBezTo>
                <a:cubicBezTo>
                  <a:pt x="308282" y="5173107"/>
                  <a:pt x="350747" y="5170748"/>
                  <a:pt x="393213" y="5168389"/>
                </a:cubicBezTo>
                <a:cubicBezTo>
                  <a:pt x="410515" y="5131427"/>
                  <a:pt x="428602" y="5095251"/>
                  <a:pt x="445904" y="5058290"/>
                </a:cubicBezTo>
                <a:cubicBezTo>
                  <a:pt x="470283" y="5051212"/>
                  <a:pt x="504100" y="5076377"/>
                  <a:pt x="518255" y="5036269"/>
                </a:cubicBezTo>
                <a:cubicBezTo>
                  <a:pt x="484702" y="5025259"/>
                  <a:pt x="460585" y="5032596"/>
                  <a:pt x="445904" y="5058290"/>
                </a:cubicBezTo>
                <a:cubicBezTo>
                  <a:pt x="426243" y="5046493"/>
                  <a:pt x="405796" y="5035483"/>
                  <a:pt x="380631" y="5020541"/>
                </a:cubicBezTo>
                <a:lnTo>
                  <a:pt x="332658" y="5020541"/>
                </a:lnTo>
                <a:cubicBezTo>
                  <a:pt x="332658" y="5001667"/>
                  <a:pt x="332658" y="4982792"/>
                  <a:pt x="332658" y="4963918"/>
                </a:cubicBezTo>
                <a:cubicBezTo>
                  <a:pt x="371194" y="4922237"/>
                  <a:pt x="397145" y="4951335"/>
                  <a:pt x="425456" y="4981219"/>
                </a:cubicBezTo>
                <a:cubicBezTo>
                  <a:pt x="438039" y="4970210"/>
                  <a:pt x="451409" y="4958413"/>
                  <a:pt x="465564" y="4945830"/>
                </a:cubicBezTo>
                <a:lnTo>
                  <a:pt x="576451" y="4945830"/>
                </a:lnTo>
                <a:cubicBezTo>
                  <a:pt x="589034" y="4957627"/>
                  <a:pt x="602402" y="4970210"/>
                  <a:pt x="616558" y="4982005"/>
                </a:cubicBezTo>
                <a:cubicBezTo>
                  <a:pt x="625209" y="4973356"/>
                  <a:pt x="634646" y="4963918"/>
                  <a:pt x="649589" y="4948976"/>
                </a:cubicBezTo>
                <a:cubicBezTo>
                  <a:pt x="709357" y="4938752"/>
                  <a:pt x="777776" y="4950549"/>
                  <a:pt x="843049" y="4942685"/>
                </a:cubicBezTo>
                <a:cubicBezTo>
                  <a:pt x="857991" y="4930102"/>
                  <a:pt x="872147" y="4918305"/>
                  <a:pt x="891807" y="4901004"/>
                </a:cubicBezTo>
                <a:cubicBezTo>
                  <a:pt x="911468" y="4912014"/>
                  <a:pt x="931915" y="4923810"/>
                  <a:pt x="964945" y="4941899"/>
                </a:cubicBezTo>
                <a:lnTo>
                  <a:pt x="1067967" y="4941899"/>
                </a:lnTo>
                <a:cubicBezTo>
                  <a:pt x="1075831" y="4935606"/>
                  <a:pt x="1089987" y="4923810"/>
                  <a:pt x="1107288" y="4908868"/>
                </a:cubicBezTo>
                <a:lnTo>
                  <a:pt x="1209525" y="4908868"/>
                </a:lnTo>
                <a:cubicBezTo>
                  <a:pt x="1240980" y="4895499"/>
                  <a:pt x="1253563" y="4855392"/>
                  <a:pt x="1294458" y="4869547"/>
                </a:cubicBezTo>
                <a:cubicBezTo>
                  <a:pt x="1306253" y="4880557"/>
                  <a:pt x="1320409" y="4893140"/>
                  <a:pt x="1333779" y="4906509"/>
                </a:cubicBezTo>
                <a:cubicBezTo>
                  <a:pt x="1342429" y="4897859"/>
                  <a:pt x="1351080" y="4889207"/>
                  <a:pt x="1360517" y="4879770"/>
                </a:cubicBezTo>
                <a:cubicBezTo>
                  <a:pt x="1416354" y="4849100"/>
                  <a:pt x="1483199" y="4889207"/>
                  <a:pt x="1552406" y="4849100"/>
                </a:cubicBezTo>
                <a:cubicBezTo>
                  <a:pt x="1502860" y="4834944"/>
                  <a:pt x="1459607" y="4832585"/>
                  <a:pt x="1430509" y="4811352"/>
                </a:cubicBezTo>
                <a:cubicBezTo>
                  <a:pt x="1388828" y="4779895"/>
                  <a:pt x="1346361" y="4797982"/>
                  <a:pt x="1305468" y="4794049"/>
                </a:cubicBezTo>
                <a:cubicBezTo>
                  <a:pt x="1268505" y="4790118"/>
                  <a:pt x="1229971" y="4793263"/>
                  <a:pt x="1192222" y="4793263"/>
                </a:cubicBezTo>
                <a:lnTo>
                  <a:pt x="1069540" y="4793263"/>
                </a:lnTo>
                <a:cubicBezTo>
                  <a:pt x="1012130" y="4742932"/>
                  <a:pt x="1075045" y="4725631"/>
                  <a:pt x="1085269" y="4695747"/>
                </a:cubicBezTo>
                <a:cubicBezTo>
                  <a:pt x="1060889" y="4665863"/>
                  <a:pt x="1027072" y="4685523"/>
                  <a:pt x="1015276" y="4683164"/>
                </a:cubicBezTo>
                <a:cubicBezTo>
                  <a:pt x="966518" y="4642270"/>
                  <a:pt x="929556" y="4610813"/>
                  <a:pt x="893381" y="4580142"/>
                </a:cubicBezTo>
                <a:cubicBezTo>
                  <a:pt x="913041" y="4540034"/>
                  <a:pt x="928770" y="4509364"/>
                  <a:pt x="949216" y="4467683"/>
                </a:cubicBezTo>
                <a:cubicBezTo>
                  <a:pt x="966518" y="4457460"/>
                  <a:pt x="996402" y="4439373"/>
                  <a:pt x="1026286" y="4421284"/>
                </a:cubicBezTo>
                <a:cubicBezTo>
                  <a:pt x="1056170" y="4402410"/>
                  <a:pt x="1100997" y="4438585"/>
                  <a:pt x="1123803" y="4394546"/>
                </a:cubicBezTo>
                <a:cubicBezTo>
                  <a:pt x="1105715" y="4376458"/>
                  <a:pt x="1088413" y="4359157"/>
                  <a:pt x="1071113" y="4341855"/>
                </a:cubicBezTo>
                <a:cubicBezTo>
                  <a:pt x="1052239" y="4334777"/>
                  <a:pt x="1020781" y="4354437"/>
                  <a:pt x="1019208" y="4309611"/>
                </a:cubicBezTo>
                <a:cubicBezTo>
                  <a:pt x="1036510" y="4306466"/>
                  <a:pt x="1053025" y="4302534"/>
                  <a:pt x="1072686" y="4298602"/>
                </a:cubicBezTo>
                <a:cubicBezTo>
                  <a:pt x="1097852" y="4260067"/>
                  <a:pt x="1153687" y="4243552"/>
                  <a:pt x="1163911" y="4189288"/>
                </a:cubicBezTo>
                <a:cubicBezTo>
                  <a:pt x="1179639" y="4197153"/>
                  <a:pt x="1195368" y="4204230"/>
                  <a:pt x="1230758" y="4220745"/>
                </a:cubicBezTo>
                <a:cubicBezTo>
                  <a:pt x="1245699" y="4223105"/>
                  <a:pt x="1260641" y="4175919"/>
                  <a:pt x="1300749" y="4181424"/>
                </a:cubicBezTo>
                <a:cubicBezTo>
                  <a:pt x="1316477" y="4183784"/>
                  <a:pt x="1337710" y="4150753"/>
                  <a:pt x="1350293" y="4138957"/>
                </a:cubicBezTo>
                <a:cubicBezTo>
                  <a:pt x="1356585" y="4101210"/>
                  <a:pt x="1342429" y="4068179"/>
                  <a:pt x="1366809" y="4038295"/>
                </a:cubicBezTo>
                <a:cubicBezTo>
                  <a:pt x="1381750" y="4050878"/>
                  <a:pt x="1395120" y="4061887"/>
                  <a:pt x="1406130" y="4072112"/>
                </a:cubicBezTo>
                <a:cubicBezTo>
                  <a:pt x="1430509" y="4057956"/>
                  <a:pt x="1455675" y="4044586"/>
                  <a:pt x="1494997" y="4022566"/>
                </a:cubicBezTo>
                <a:cubicBezTo>
                  <a:pt x="1494997" y="4023353"/>
                  <a:pt x="1500501" y="4006838"/>
                  <a:pt x="1507579" y="3988749"/>
                </a:cubicBezTo>
                <a:cubicBezTo>
                  <a:pt x="1489491" y="3969089"/>
                  <a:pt x="1472977" y="3951001"/>
                  <a:pt x="1450170" y="3927408"/>
                </a:cubicBezTo>
                <a:lnTo>
                  <a:pt x="1222107" y="3927408"/>
                </a:lnTo>
                <a:cubicBezTo>
                  <a:pt x="1206378" y="3911680"/>
                  <a:pt x="1197727" y="3903030"/>
                  <a:pt x="1185931" y="3891233"/>
                </a:cubicBezTo>
                <a:lnTo>
                  <a:pt x="592966" y="3891233"/>
                </a:lnTo>
                <a:cubicBezTo>
                  <a:pt x="527693" y="3849552"/>
                  <a:pt x="456913" y="3824388"/>
                  <a:pt x="413660" y="3754394"/>
                </a:cubicBezTo>
                <a:cubicBezTo>
                  <a:pt x="426243" y="3703277"/>
                  <a:pt x="379058" y="3662383"/>
                  <a:pt x="368048" y="3607334"/>
                </a:cubicBezTo>
                <a:cubicBezTo>
                  <a:pt x="310644" y="3575094"/>
                  <a:pt x="249297" y="3542064"/>
                  <a:pt x="189529" y="3508249"/>
                </a:cubicBezTo>
                <a:cubicBezTo>
                  <a:pt x="189529" y="3446907"/>
                  <a:pt x="167509" y="3398935"/>
                  <a:pt x="143916" y="3354895"/>
                </a:cubicBezTo>
                <a:cubicBezTo>
                  <a:pt x="160432" y="3295127"/>
                  <a:pt x="217846" y="3294340"/>
                  <a:pt x="257163" y="3267602"/>
                </a:cubicBezTo>
                <a:lnTo>
                  <a:pt x="257163" y="3156716"/>
                </a:lnTo>
                <a:cubicBezTo>
                  <a:pt x="270535" y="3142561"/>
                  <a:pt x="283118" y="3129191"/>
                  <a:pt x="296482" y="3114248"/>
                </a:cubicBezTo>
                <a:cubicBezTo>
                  <a:pt x="310644" y="3076500"/>
                  <a:pt x="275250" y="3061558"/>
                  <a:pt x="259525" y="3037966"/>
                </a:cubicBezTo>
                <a:lnTo>
                  <a:pt x="259525" y="2924719"/>
                </a:lnTo>
                <a:cubicBezTo>
                  <a:pt x="298056" y="2885399"/>
                  <a:pt x="342884" y="2850797"/>
                  <a:pt x="352325" y="2793387"/>
                </a:cubicBezTo>
                <a:lnTo>
                  <a:pt x="429389" y="2793387"/>
                </a:lnTo>
                <a:cubicBezTo>
                  <a:pt x="461633" y="2762717"/>
                  <a:pt x="418379" y="2757212"/>
                  <a:pt x="410515" y="2733619"/>
                </a:cubicBezTo>
                <a:lnTo>
                  <a:pt x="410515" y="2665986"/>
                </a:lnTo>
                <a:cubicBezTo>
                  <a:pt x="348389" y="2631384"/>
                  <a:pt x="287051" y="2598354"/>
                  <a:pt x="224922" y="2563751"/>
                </a:cubicBezTo>
                <a:lnTo>
                  <a:pt x="224922" y="2439495"/>
                </a:lnTo>
                <a:cubicBezTo>
                  <a:pt x="245365" y="2401746"/>
                  <a:pt x="272890" y="2356133"/>
                  <a:pt x="294910" y="2308949"/>
                </a:cubicBezTo>
                <a:cubicBezTo>
                  <a:pt x="301988" y="2293221"/>
                  <a:pt x="295700" y="2271987"/>
                  <a:pt x="295700" y="2253113"/>
                </a:cubicBezTo>
                <a:cubicBezTo>
                  <a:pt x="312215" y="2213005"/>
                  <a:pt x="364905" y="2200423"/>
                  <a:pt x="364905" y="2143014"/>
                </a:cubicBezTo>
                <a:cubicBezTo>
                  <a:pt x="393213" y="2160315"/>
                  <a:pt x="412088" y="2173684"/>
                  <a:pt x="430176" y="2187839"/>
                </a:cubicBezTo>
                <a:cubicBezTo>
                  <a:pt x="456913" y="2140653"/>
                  <a:pt x="504886" y="2155596"/>
                  <a:pt x="545780" y="2147732"/>
                </a:cubicBezTo>
                <a:cubicBezTo>
                  <a:pt x="581956" y="2106837"/>
                  <a:pt x="623636" y="2074594"/>
                  <a:pt x="675541" y="2054146"/>
                </a:cubicBezTo>
                <a:cubicBezTo>
                  <a:pt x="725872" y="2034487"/>
                  <a:pt x="773057" y="2006175"/>
                  <a:pt x="861138" y="1962922"/>
                </a:cubicBezTo>
                <a:cubicBezTo>
                  <a:pt x="776989" y="1962922"/>
                  <a:pt x="735309" y="1962922"/>
                  <a:pt x="692842" y="1962922"/>
                </a:cubicBezTo>
                <a:cubicBezTo>
                  <a:pt x="678686" y="1975504"/>
                  <a:pt x="665317" y="1988874"/>
                  <a:pt x="652734" y="1999884"/>
                </a:cubicBezTo>
                <a:cubicBezTo>
                  <a:pt x="596898" y="2003030"/>
                  <a:pt x="541061" y="1993592"/>
                  <a:pt x="489944" y="2006961"/>
                </a:cubicBezTo>
                <a:cubicBezTo>
                  <a:pt x="484439" y="2032913"/>
                  <a:pt x="480507" y="2049428"/>
                  <a:pt x="478934" y="2054934"/>
                </a:cubicBezTo>
                <a:cubicBezTo>
                  <a:pt x="436468" y="2082458"/>
                  <a:pt x="401864" y="2105266"/>
                  <a:pt x="364115" y="2142227"/>
                </a:cubicBezTo>
                <a:cubicBezTo>
                  <a:pt x="331874" y="2144586"/>
                  <a:pt x="299633" y="2157169"/>
                  <a:pt x="275250" y="2187839"/>
                </a:cubicBezTo>
                <a:cubicBezTo>
                  <a:pt x="254021" y="2168965"/>
                  <a:pt x="250870" y="2147732"/>
                  <a:pt x="265813" y="2124139"/>
                </a:cubicBezTo>
                <a:cubicBezTo>
                  <a:pt x="275250" y="2109196"/>
                  <a:pt x="293337" y="2095041"/>
                  <a:pt x="293337" y="2080099"/>
                </a:cubicBezTo>
                <a:cubicBezTo>
                  <a:pt x="293337" y="2050216"/>
                  <a:pt x="316149" y="2038418"/>
                  <a:pt x="331874" y="2021117"/>
                </a:cubicBezTo>
                <a:cubicBezTo>
                  <a:pt x="344456" y="2006961"/>
                  <a:pt x="357829" y="1994379"/>
                  <a:pt x="371194" y="1981011"/>
                </a:cubicBezTo>
                <a:cubicBezTo>
                  <a:pt x="388495" y="1963708"/>
                  <a:pt x="406582" y="1945620"/>
                  <a:pt x="423885" y="1928320"/>
                </a:cubicBezTo>
                <a:cubicBezTo>
                  <a:pt x="435680" y="1927532"/>
                  <a:pt x="447477" y="1925960"/>
                  <a:pt x="469496" y="1923601"/>
                </a:cubicBezTo>
                <a:cubicBezTo>
                  <a:pt x="486797" y="1899222"/>
                  <a:pt x="508818" y="1869337"/>
                  <a:pt x="522974" y="1848890"/>
                </a:cubicBezTo>
                <a:cubicBezTo>
                  <a:pt x="565441" y="1848890"/>
                  <a:pt x="589819" y="1848890"/>
                  <a:pt x="614985" y="1848890"/>
                </a:cubicBezTo>
                <a:cubicBezTo>
                  <a:pt x="628354" y="1836307"/>
                  <a:pt x="641724" y="1823724"/>
                  <a:pt x="655093" y="1811141"/>
                </a:cubicBezTo>
                <a:cubicBezTo>
                  <a:pt x="692055" y="1811141"/>
                  <a:pt x="729803" y="1811141"/>
                  <a:pt x="771484" y="1811141"/>
                </a:cubicBezTo>
                <a:cubicBezTo>
                  <a:pt x="778562" y="1790696"/>
                  <a:pt x="785640" y="1768675"/>
                  <a:pt x="792717" y="1747442"/>
                </a:cubicBezTo>
                <a:cubicBezTo>
                  <a:pt x="839904" y="1726207"/>
                  <a:pt x="887089" y="1704975"/>
                  <a:pt x="939779" y="1681382"/>
                </a:cubicBezTo>
                <a:lnTo>
                  <a:pt x="939779" y="1513086"/>
                </a:lnTo>
                <a:cubicBezTo>
                  <a:pt x="974382" y="1510727"/>
                  <a:pt x="1004266" y="1508368"/>
                  <a:pt x="1034151" y="1506795"/>
                </a:cubicBezTo>
                <a:cubicBezTo>
                  <a:pt x="1069540" y="1475337"/>
                  <a:pt x="1094705" y="1429724"/>
                  <a:pt x="1150542" y="1426579"/>
                </a:cubicBezTo>
                <a:cubicBezTo>
                  <a:pt x="1155260" y="1426579"/>
                  <a:pt x="1159193" y="1406919"/>
                  <a:pt x="1163911" y="1386471"/>
                </a:cubicBezTo>
                <a:cubicBezTo>
                  <a:pt x="1211883" y="1384899"/>
                  <a:pt x="1263001" y="1412424"/>
                  <a:pt x="1323556" y="1374675"/>
                </a:cubicBezTo>
                <a:cubicBezTo>
                  <a:pt x="1299176" y="1355013"/>
                  <a:pt x="1277942" y="1338499"/>
                  <a:pt x="1263001" y="1326704"/>
                </a:cubicBezTo>
                <a:cubicBezTo>
                  <a:pt x="1226039" y="1345578"/>
                  <a:pt x="1195368" y="1361305"/>
                  <a:pt x="1163911" y="1386471"/>
                </a:cubicBezTo>
                <a:cubicBezTo>
                  <a:pt x="1132454" y="1395910"/>
                  <a:pt x="1100997" y="1395910"/>
                  <a:pt x="1070326" y="1395910"/>
                </a:cubicBezTo>
                <a:cubicBezTo>
                  <a:pt x="1056956" y="1383326"/>
                  <a:pt x="1043587" y="1371530"/>
                  <a:pt x="1030219" y="1358946"/>
                </a:cubicBezTo>
                <a:cubicBezTo>
                  <a:pt x="1008199" y="1380965"/>
                  <a:pt x="989324" y="1410066"/>
                  <a:pt x="950789" y="1391191"/>
                </a:cubicBezTo>
                <a:cubicBezTo>
                  <a:pt x="921692" y="1366809"/>
                  <a:pt x="947644" y="1332209"/>
                  <a:pt x="933488" y="1304684"/>
                </a:cubicBezTo>
                <a:cubicBezTo>
                  <a:pt x="980673" y="1259856"/>
                  <a:pt x="1026286" y="1216602"/>
                  <a:pt x="1075045" y="1170204"/>
                </a:cubicBezTo>
                <a:lnTo>
                  <a:pt x="1256709" y="1170204"/>
                </a:lnTo>
                <a:cubicBezTo>
                  <a:pt x="1282661" y="1194584"/>
                  <a:pt x="1308613" y="1218963"/>
                  <a:pt x="1335352" y="1244127"/>
                </a:cubicBezTo>
                <a:cubicBezTo>
                  <a:pt x="1345576" y="1233905"/>
                  <a:pt x="1354226" y="1225254"/>
                  <a:pt x="1369955" y="1209526"/>
                </a:cubicBezTo>
                <a:lnTo>
                  <a:pt x="1634194" y="1209526"/>
                </a:lnTo>
                <a:cubicBezTo>
                  <a:pt x="1649136" y="1194584"/>
                  <a:pt x="1658573" y="1185146"/>
                  <a:pt x="1667223" y="1176495"/>
                </a:cubicBezTo>
                <a:cubicBezTo>
                  <a:pt x="1724632" y="1157621"/>
                  <a:pt x="1788334" y="1183573"/>
                  <a:pt x="1849675" y="1156836"/>
                </a:cubicBezTo>
                <a:cubicBezTo>
                  <a:pt x="1839451" y="1146613"/>
                  <a:pt x="1835518" y="1141107"/>
                  <a:pt x="1830013" y="1137962"/>
                </a:cubicBezTo>
                <a:cubicBezTo>
                  <a:pt x="1825295" y="1134815"/>
                  <a:pt x="1819003" y="1132457"/>
                  <a:pt x="1813498" y="1132457"/>
                </a:cubicBezTo>
                <a:cubicBezTo>
                  <a:pt x="1626329" y="1132457"/>
                  <a:pt x="1439160" y="1132457"/>
                  <a:pt x="1253563" y="1132457"/>
                </a:cubicBezTo>
                <a:cubicBezTo>
                  <a:pt x="1237835" y="1086056"/>
                  <a:pt x="1226825" y="1029433"/>
                  <a:pt x="1185144" y="1024715"/>
                </a:cubicBezTo>
                <a:cubicBezTo>
                  <a:pt x="1117511" y="1016851"/>
                  <a:pt x="1101783" y="954724"/>
                  <a:pt x="1053025" y="931917"/>
                </a:cubicBezTo>
                <a:lnTo>
                  <a:pt x="1053025" y="813952"/>
                </a:lnTo>
                <a:cubicBezTo>
                  <a:pt x="1078387" y="774434"/>
                  <a:pt x="1104634" y="718991"/>
                  <a:pt x="1116836" y="677150"/>
                </a:cubicBezTo>
                <a:lnTo>
                  <a:pt x="1123629" y="641841"/>
                </a:lnTo>
                <a:lnTo>
                  <a:pt x="1123803" y="641725"/>
                </a:lnTo>
                <a:lnTo>
                  <a:pt x="1124238" y="640939"/>
                </a:lnTo>
                <a:lnTo>
                  <a:pt x="1270865" y="640939"/>
                </a:lnTo>
                <a:cubicBezTo>
                  <a:pt x="1312545" y="615772"/>
                  <a:pt x="1338498" y="600044"/>
                  <a:pt x="1357372" y="589034"/>
                </a:cubicBezTo>
                <a:cubicBezTo>
                  <a:pt x="1350293" y="561508"/>
                  <a:pt x="1347934" y="549713"/>
                  <a:pt x="1344789" y="537917"/>
                </a:cubicBezTo>
                <a:cubicBezTo>
                  <a:pt x="1303895" y="518255"/>
                  <a:pt x="1261428" y="530051"/>
                  <a:pt x="1218961" y="530051"/>
                </a:cubicBezTo>
                <a:cubicBezTo>
                  <a:pt x="1197136" y="558953"/>
                  <a:pt x="1164697" y="579007"/>
                  <a:pt x="1142210" y="608462"/>
                </a:cubicBezTo>
                <a:lnTo>
                  <a:pt x="1124238" y="640939"/>
                </a:lnTo>
                <a:lnTo>
                  <a:pt x="1123803" y="640939"/>
                </a:lnTo>
                <a:lnTo>
                  <a:pt x="1123629" y="641841"/>
                </a:lnTo>
                <a:lnTo>
                  <a:pt x="1116726" y="646443"/>
                </a:lnTo>
                <a:cubicBezTo>
                  <a:pt x="1108861" y="641725"/>
                  <a:pt x="1090773" y="639365"/>
                  <a:pt x="1088413" y="633074"/>
                </a:cubicBezTo>
                <a:cubicBezTo>
                  <a:pt x="1082123" y="609482"/>
                  <a:pt x="1082123" y="585102"/>
                  <a:pt x="1078190" y="548926"/>
                </a:cubicBezTo>
                <a:cubicBezTo>
                  <a:pt x="1108076" y="526120"/>
                  <a:pt x="1142677" y="500168"/>
                  <a:pt x="1189077" y="463992"/>
                </a:cubicBezTo>
                <a:cubicBezTo>
                  <a:pt x="1238621" y="480507"/>
                  <a:pt x="1286593" y="405010"/>
                  <a:pt x="1356585" y="419952"/>
                </a:cubicBezTo>
                <a:cubicBezTo>
                  <a:pt x="1399052" y="406582"/>
                  <a:pt x="1408490" y="349173"/>
                  <a:pt x="1456462" y="344455"/>
                </a:cubicBezTo>
                <a:cubicBezTo>
                  <a:pt x="1506007" y="339736"/>
                  <a:pt x="1519375" y="288619"/>
                  <a:pt x="1558697" y="267385"/>
                </a:cubicBezTo>
                <a:lnTo>
                  <a:pt x="1629474" y="267385"/>
                </a:lnTo>
                <a:cubicBezTo>
                  <a:pt x="1639699" y="257162"/>
                  <a:pt x="1648349" y="248511"/>
                  <a:pt x="1661719" y="235141"/>
                </a:cubicBezTo>
                <a:lnTo>
                  <a:pt x="1766313" y="235141"/>
                </a:lnTo>
                <a:cubicBezTo>
                  <a:pt x="1782042" y="223345"/>
                  <a:pt x="1796197" y="212335"/>
                  <a:pt x="1821362" y="193461"/>
                </a:cubicBezTo>
                <a:cubicBezTo>
                  <a:pt x="1845742" y="180092"/>
                  <a:pt x="1899219" y="213122"/>
                  <a:pt x="1926744" y="154140"/>
                </a:cubicBezTo>
                <a:lnTo>
                  <a:pt x="2119418" y="154140"/>
                </a:lnTo>
                <a:cubicBezTo>
                  <a:pt x="2134360" y="139199"/>
                  <a:pt x="2143798" y="129761"/>
                  <a:pt x="2158739" y="114818"/>
                </a:cubicBezTo>
                <a:lnTo>
                  <a:pt x="2347481" y="114818"/>
                </a:lnTo>
                <a:cubicBezTo>
                  <a:pt x="2362423" y="99876"/>
                  <a:pt x="2371861" y="90439"/>
                  <a:pt x="2381298" y="81002"/>
                </a:cubicBezTo>
                <a:cubicBezTo>
                  <a:pt x="2394668" y="92799"/>
                  <a:pt x="2407251" y="104594"/>
                  <a:pt x="2420619" y="115605"/>
                </a:cubicBezTo>
                <a:cubicBezTo>
                  <a:pt x="2429271" y="107742"/>
                  <a:pt x="2437920" y="99090"/>
                  <a:pt x="2446572" y="90439"/>
                </a:cubicBezTo>
                <a:cubicBezTo>
                  <a:pt x="2456795" y="86508"/>
                  <a:pt x="2467804" y="79430"/>
                  <a:pt x="2478814" y="79430"/>
                </a:cubicBezTo>
                <a:cubicBezTo>
                  <a:pt x="2547234" y="78643"/>
                  <a:pt x="2616439" y="79430"/>
                  <a:pt x="2686431" y="79430"/>
                </a:cubicBezTo>
                <a:cubicBezTo>
                  <a:pt x="2698228" y="54265"/>
                  <a:pt x="2710025" y="29884"/>
                  <a:pt x="2721820" y="3933"/>
                </a:cubicBezTo>
                <a:cubicBezTo>
                  <a:pt x="2746986" y="29098"/>
                  <a:pt x="2769006" y="51118"/>
                  <a:pt x="2794172" y="76284"/>
                </a:cubicBezTo>
                <a:lnTo>
                  <a:pt x="3066276" y="76284"/>
                </a:lnTo>
                <a:lnTo>
                  <a:pt x="3080137" y="42401"/>
                </a:lnTo>
                <a:lnTo>
                  <a:pt x="3044857" y="41521"/>
                </a:lnTo>
                <a:cubicBezTo>
                  <a:pt x="3006115" y="42664"/>
                  <a:pt x="2964826" y="46792"/>
                  <a:pt x="2920000" y="24379"/>
                </a:cubicBezTo>
                <a:cubicBezTo>
                  <a:pt x="2978197" y="-4718"/>
                  <a:pt x="3023809" y="4719"/>
                  <a:pt x="3069422" y="9437"/>
                </a:cubicBezTo>
                <a:lnTo>
                  <a:pt x="3082149" y="40880"/>
                </a:lnTo>
                <a:lnTo>
                  <a:pt x="3127616" y="19661"/>
                </a:lnTo>
                <a:cubicBezTo>
                  <a:pt x="3146884" y="6292"/>
                  <a:pt x="3167331" y="3146"/>
                  <a:pt x="3188269" y="3048"/>
                </a:cubicBezTo>
                <a:close/>
                <a:moveTo>
                  <a:pt x="2200420" y="0"/>
                </a:moveTo>
                <a:cubicBezTo>
                  <a:pt x="2217721" y="20448"/>
                  <a:pt x="2235023" y="40894"/>
                  <a:pt x="2259404" y="69992"/>
                </a:cubicBezTo>
                <a:cubicBezTo>
                  <a:pt x="2196489" y="87293"/>
                  <a:pt x="2141438" y="77069"/>
                  <a:pt x="2084816" y="81002"/>
                </a:cubicBezTo>
                <a:cubicBezTo>
                  <a:pt x="2073020" y="92013"/>
                  <a:pt x="2059651" y="103808"/>
                  <a:pt x="2047067" y="114818"/>
                </a:cubicBezTo>
                <a:cubicBezTo>
                  <a:pt x="2027407" y="103022"/>
                  <a:pt x="2006960" y="92799"/>
                  <a:pt x="1988085" y="80216"/>
                </a:cubicBezTo>
                <a:lnTo>
                  <a:pt x="1988085" y="80215"/>
                </a:lnTo>
                <a:lnTo>
                  <a:pt x="1986906" y="72646"/>
                </a:lnTo>
                <a:cubicBezTo>
                  <a:pt x="1987299" y="68812"/>
                  <a:pt x="1988085" y="64094"/>
                  <a:pt x="1988085" y="59768"/>
                </a:cubicBezTo>
                <a:lnTo>
                  <a:pt x="1988085" y="58982"/>
                </a:lnTo>
                <a:cubicBezTo>
                  <a:pt x="2042349" y="23593"/>
                  <a:pt x="2106837" y="55836"/>
                  <a:pt x="2164245" y="36176"/>
                </a:cubicBezTo>
                <a:cubicBezTo>
                  <a:pt x="2172895" y="27525"/>
                  <a:pt x="2181546" y="18875"/>
                  <a:pt x="2200420" y="0"/>
                </a:cubicBezTo>
                <a:close/>
              </a:path>
            </a:pathLst>
          </a:custGeom>
          <a:solidFill>
            <a:schemeClr val="bg1">
              <a:lumMod val="95000"/>
            </a:schemeClr>
          </a:solidFill>
          <a:ln w="0" cap="flat">
            <a:noFill/>
            <a:prstDash val="solid"/>
            <a:miter/>
          </a:ln>
        </p:spPr>
        <p:txBody>
          <a:bodyPr wrap="square" rtlCol="0" anchor="ctr">
            <a:noAutofit/>
          </a:bodyPr>
          <a:lstStyle/>
          <a:p>
            <a:endParaRPr lang="de-DE"/>
          </a:p>
        </p:txBody>
      </p:sp>
      <p:sp>
        <p:nvSpPr>
          <p:cNvPr id="3" name="Freihandform: Form 2">
            <a:extLst>
              <a:ext uri="{FF2B5EF4-FFF2-40B4-BE49-F238E27FC236}">
                <a16:creationId xmlns:a16="http://schemas.microsoft.com/office/drawing/2014/main" id="{7DA8EC51-EBE9-AB86-196C-9BA8424B043A}"/>
              </a:ext>
            </a:extLst>
          </p:cNvPr>
          <p:cNvSpPr/>
          <p:nvPr userDrawn="1"/>
        </p:nvSpPr>
        <p:spPr>
          <a:xfrm>
            <a:off x="2941560"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5" name="Freihandform: Form 4">
            <a:extLst>
              <a:ext uri="{FF2B5EF4-FFF2-40B4-BE49-F238E27FC236}">
                <a16:creationId xmlns:a16="http://schemas.microsoft.com/office/drawing/2014/main" id="{CD69421E-D91E-352F-DCA2-2DC9266A3222}"/>
              </a:ext>
            </a:extLst>
          </p:cNvPr>
          <p:cNvSpPr/>
          <p:nvPr userDrawn="1"/>
        </p:nvSpPr>
        <p:spPr>
          <a:xfrm>
            <a:off x="550863"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6" name="Freihandform: Form 5">
            <a:extLst>
              <a:ext uri="{FF2B5EF4-FFF2-40B4-BE49-F238E27FC236}">
                <a16:creationId xmlns:a16="http://schemas.microsoft.com/office/drawing/2014/main" id="{EE92E1FC-B63F-BD4F-3D6B-30D5AB9DA50F}"/>
              </a:ext>
            </a:extLst>
          </p:cNvPr>
          <p:cNvSpPr/>
          <p:nvPr userDrawn="1"/>
        </p:nvSpPr>
        <p:spPr>
          <a:xfrm>
            <a:off x="1029002"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7" name="Freihandform: Form 6">
            <a:extLst>
              <a:ext uri="{FF2B5EF4-FFF2-40B4-BE49-F238E27FC236}">
                <a16:creationId xmlns:a16="http://schemas.microsoft.com/office/drawing/2014/main" id="{C235E388-EFDF-98EB-87FC-4674ED6B56E1}"/>
              </a:ext>
            </a:extLst>
          </p:cNvPr>
          <p:cNvSpPr/>
          <p:nvPr userDrawn="1"/>
        </p:nvSpPr>
        <p:spPr>
          <a:xfrm>
            <a:off x="1507141"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8" name="Freihandform: Form 7">
            <a:extLst>
              <a:ext uri="{FF2B5EF4-FFF2-40B4-BE49-F238E27FC236}">
                <a16:creationId xmlns:a16="http://schemas.microsoft.com/office/drawing/2014/main" id="{63521F7D-D8A3-6236-F5B7-F7C9D2B9C6A9}"/>
              </a:ext>
            </a:extLst>
          </p:cNvPr>
          <p:cNvSpPr/>
          <p:nvPr userDrawn="1"/>
        </p:nvSpPr>
        <p:spPr>
          <a:xfrm>
            <a:off x="1985280"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9" name="Freihandform: Form 8">
            <a:extLst>
              <a:ext uri="{FF2B5EF4-FFF2-40B4-BE49-F238E27FC236}">
                <a16:creationId xmlns:a16="http://schemas.microsoft.com/office/drawing/2014/main" id="{193707AC-C4F7-EA39-8882-2470B776986A}"/>
              </a:ext>
            </a:extLst>
          </p:cNvPr>
          <p:cNvSpPr/>
          <p:nvPr userDrawn="1"/>
        </p:nvSpPr>
        <p:spPr>
          <a:xfrm>
            <a:off x="2463419"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3543961439"/>
      </p:ext>
    </p:extLst>
  </p:cSld>
  <p:clrMap bg1="lt1" tx1="dk1" bg2="lt2" tx2="dk2" accent1="accent1" accent2="accent2" accent3="accent3" accent4="accent4" accent5="accent5" accent6="accent6" hlink="hlink" folHlink="folHlink"/>
  <p:sldLayoutIdLst>
    <p:sldLayoutId id="2147483660" r:id="rId1"/>
    <p:sldLayoutId id="2147483670"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46" userDrawn="1">
          <p15:clr>
            <a:srgbClr val="F26B43"/>
          </p15:clr>
        </p15:guide>
        <p15:guide id="4" orient="horz" pos="3974" userDrawn="1">
          <p15:clr>
            <a:srgbClr val="F26B43"/>
          </p15:clr>
        </p15:guide>
        <p15:guide id="5" pos="347" userDrawn="1">
          <p15:clr>
            <a:srgbClr val="F26B43"/>
          </p15:clr>
        </p15:guide>
        <p15:guide id="6" pos="733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Freihandform: Form 10">
            <a:extLst>
              <a:ext uri="{FF2B5EF4-FFF2-40B4-BE49-F238E27FC236}">
                <a16:creationId xmlns:a16="http://schemas.microsoft.com/office/drawing/2014/main" id="{FF51438F-0D69-B88C-AB7A-470DEE4921E7}"/>
              </a:ext>
            </a:extLst>
          </p:cNvPr>
          <p:cNvSpPr/>
          <p:nvPr userDrawn="1"/>
        </p:nvSpPr>
        <p:spPr>
          <a:xfrm>
            <a:off x="124855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graphicFrame>
        <p:nvGraphicFramePr>
          <p:cNvPr id="2" name="think-cell data - do not delete" hidden="1">
            <a:extLst>
              <a:ext uri="{FF2B5EF4-FFF2-40B4-BE49-F238E27FC236}">
                <a16:creationId xmlns:a16="http://schemas.microsoft.com/office/drawing/2014/main" id="{65F35E97-6790-C9F0-FE9F-A0B71FE73118}"/>
              </a:ext>
            </a:extLst>
          </p:cNvPr>
          <p:cNvGraphicFramePr>
            <a:graphicFrameLocks noChangeAspect="1"/>
          </p:cNvGraphicFramePr>
          <p:nvPr userDrawn="1">
            <p:custDataLst>
              <p:tags r:id="rId5"/>
            </p:custDataLst>
            <p:extLst>
              <p:ext uri="{D42A27DB-BD31-4B8C-83A1-F6EECF244321}">
                <p14:modId xmlns:p14="http://schemas.microsoft.com/office/powerpoint/2010/main" val="1792720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070" name="think-cell Folie" r:id="rId6" imgW="7772400" imgH="10058400" progId="TCLayout.ActiveDocument.1">
                  <p:embed/>
                </p:oleObj>
              </mc:Choice>
              <mc:Fallback>
                <p:oleObj name="think-cell Folie" r:id="rId6" imgW="7772400" imgH="10058400" progId="TCLayout.ActiveDocument.1">
                  <p:embed/>
                  <p:pic>
                    <p:nvPicPr>
                      <p:cNvPr id="2" name="think-cell data - do not delete" hidden="1">
                        <a:extLst>
                          <a:ext uri="{FF2B5EF4-FFF2-40B4-BE49-F238E27FC236}">
                            <a16:creationId xmlns:a16="http://schemas.microsoft.com/office/drawing/2014/main" id="{65F35E97-6790-C9F0-FE9F-A0B71FE73118}"/>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cxnSp>
        <p:nvCxnSpPr>
          <p:cNvPr id="9" name="Gerader Verbinder 8">
            <a:extLst>
              <a:ext uri="{FF2B5EF4-FFF2-40B4-BE49-F238E27FC236}">
                <a16:creationId xmlns:a16="http://schemas.microsoft.com/office/drawing/2014/main" id="{D0FFBD25-C2A6-127E-CD0B-3C0ADF70A22D}"/>
              </a:ext>
            </a:extLst>
          </p:cNvPr>
          <p:cNvCxnSpPr>
            <a:cxnSpLocks/>
          </p:cNvCxnSpPr>
          <p:nvPr userDrawn="1"/>
        </p:nvCxnSpPr>
        <p:spPr>
          <a:xfrm>
            <a:off x="560515" y="6484664"/>
            <a:ext cx="180000" cy="0"/>
          </a:xfrm>
          <a:prstGeom prst="line">
            <a:avLst/>
          </a:prstGeom>
          <a:ln cap="rnd">
            <a:solidFill>
              <a:schemeClr val="accent3"/>
            </a:solidFill>
            <a:round/>
          </a:ln>
        </p:spPr>
        <p:style>
          <a:lnRef idx="2">
            <a:schemeClr val="accent1"/>
          </a:lnRef>
          <a:fillRef idx="0">
            <a:schemeClr val="accent1"/>
          </a:fillRef>
          <a:effectRef idx="1">
            <a:schemeClr val="accent1"/>
          </a:effectRef>
          <a:fontRef idx="minor">
            <a:schemeClr val="tx1"/>
          </a:fontRef>
        </p:style>
      </p:cxnSp>
      <p:sp>
        <p:nvSpPr>
          <p:cNvPr id="10" name="Foliennummernplatzhalter 5">
            <a:extLst>
              <a:ext uri="{FF2B5EF4-FFF2-40B4-BE49-F238E27FC236}">
                <a16:creationId xmlns:a16="http://schemas.microsoft.com/office/drawing/2014/main" id="{A67AC7BD-BE65-F5E6-06D1-5DC7E4AFDA1D}"/>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
        <p:nvSpPr>
          <p:cNvPr id="12" name="Freihandform: Form 11">
            <a:extLst>
              <a:ext uri="{FF2B5EF4-FFF2-40B4-BE49-F238E27FC236}">
                <a16:creationId xmlns:a16="http://schemas.microsoft.com/office/drawing/2014/main" id="{8994C763-22C1-3B89-9FED-6551F1991FE9}"/>
              </a:ext>
            </a:extLst>
          </p:cNvPr>
          <p:cNvSpPr/>
          <p:nvPr userDrawn="1"/>
        </p:nvSpPr>
        <p:spPr>
          <a:xfrm>
            <a:off x="55291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3" name="Freihandform: Form 12">
            <a:extLst>
              <a:ext uri="{FF2B5EF4-FFF2-40B4-BE49-F238E27FC236}">
                <a16:creationId xmlns:a16="http://schemas.microsoft.com/office/drawing/2014/main" id="{61AE4873-4DC6-8673-0EDE-ED61E5786F20}"/>
              </a:ext>
            </a:extLst>
          </p:cNvPr>
          <p:cNvSpPr/>
          <p:nvPr userDrawn="1"/>
        </p:nvSpPr>
        <p:spPr>
          <a:xfrm>
            <a:off x="692043"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4" name="Freihandform: Form 13">
            <a:extLst>
              <a:ext uri="{FF2B5EF4-FFF2-40B4-BE49-F238E27FC236}">
                <a16:creationId xmlns:a16="http://schemas.microsoft.com/office/drawing/2014/main" id="{65274241-23B8-1DC2-7869-698F0DAC007B}"/>
              </a:ext>
            </a:extLst>
          </p:cNvPr>
          <p:cNvSpPr/>
          <p:nvPr userDrawn="1"/>
        </p:nvSpPr>
        <p:spPr>
          <a:xfrm>
            <a:off x="831171"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5" name="Freihandform: Form 14">
            <a:extLst>
              <a:ext uri="{FF2B5EF4-FFF2-40B4-BE49-F238E27FC236}">
                <a16:creationId xmlns:a16="http://schemas.microsoft.com/office/drawing/2014/main" id="{551C713A-9527-C1ED-E4F6-A5BD91C6DB10}"/>
              </a:ext>
            </a:extLst>
          </p:cNvPr>
          <p:cNvSpPr/>
          <p:nvPr userDrawn="1"/>
        </p:nvSpPr>
        <p:spPr>
          <a:xfrm>
            <a:off x="970299"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6" name="Freihandform: Form 15">
            <a:extLst>
              <a:ext uri="{FF2B5EF4-FFF2-40B4-BE49-F238E27FC236}">
                <a16:creationId xmlns:a16="http://schemas.microsoft.com/office/drawing/2014/main" id="{729E68E5-2B79-FA53-1E62-6B761A00E730}"/>
              </a:ext>
            </a:extLst>
          </p:cNvPr>
          <p:cNvSpPr/>
          <p:nvPr userDrawn="1"/>
        </p:nvSpPr>
        <p:spPr>
          <a:xfrm>
            <a:off x="1109427"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647371027"/>
      </p:ext>
    </p:extLst>
  </p:cSld>
  <p:clrMap bg1="lt1" tx1="dk1" bg2="lt2" tx2="dk2" accent1="accent1" accent2="accent2" accent3="accent3" accent4="accent4" accent5="accent5" accent6="accent6" hlink="hlink" folHlink="folHlink"/>
  <p:sldLayoutIdLst>
    <p:sldLayoutId id="2147483669" r:id="rId1"/>
    <p:sldLayoutId id="2147483673"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46" userDrawn="1">
          <p15:clr>
            <a:srgbClr val="F26B43"/>
          </p15:clr>
        </p15:guide>
        <p15:guide id="4" orient="horz" pos="3974" userDrawn="1">
          <p15:clr>
            <a:srgbClr val="F26B43"/>
          </p15:clr>
        </p15:guide>
        <p15:guide id="5" pos="347" userDrawn="1">
          <p15:clr>
            <a:srgbClr val="F26B43"/>
          </p15:clr>
        </p15:guide>
        <p15:guide id="6" pos="7333"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5F35E97-6790-C9F0-FE9F-A0B71FE73118}"/>
              </a:ext>
            </a:extLst>
          </p:cNvPr>
          <p:cNvGraphicFramePr>
            <a:graphicFrameLocks noChangeAspect="1"/>
          </p:cNvGraphicFramePr>
          <p:nvPr userDrawn="1">
            <p:custDataLst>
              <p:tags r:id="rId15"/>
            </p:custDataLst>
            <p:extLst>
              <p:ext uri="{D42A27DB-BD31-4B8C-83A1-F6EECF244321}">
                <p14:modId xmlns:p14="http://schemas.microsoft.com/office/powerpoint/2010/main" val="1792720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094" name="think-cell Folie" r:id="rId16" imgW="7772400" imgH="10058400" progId="TCLayout.ActiveDocument.1">
                  <p:embed/>
                </p:oleObj>
              </mc:Choice>
              <mc:Fallback>
                <p:oleObj name="think-cell Folie" r:id="rId16" imgW="7772400" imgH="10058400" progId="TCLayout.ActiveDocument.1">
                  <p:embed/>
                  <p:pic>
                    <p:nvPicPr>
                      <p:cNvPr id="0" name=""/>
                      <p:cNvPicPr/>
                      <p:nvPr/>
                    </p:nvPicPr>
                    <p:blipFill>
                      <a:blip r:embed="rId17"/>
                      <a:stretch>
                        <a:fillRect/>
                      </a:stretch>
                    </p:blipFill>
                    <p:spPr>
                      <a:xfrm>
                        <a:off x="1588" y="1588"/>
                        <a:ext cx="1227" cy="1588"/>
                      </a:xfrm>
                      <a:prstGeom prst="rect">
                        <a:avLst/>
                      </a:prstGeom>
                    </p:spPr>
                  </p:pic>
                </p:oleObj>
              </mc:Fallback>
            </mc:AlternateContent>
          </a:graphicData>
        </a:graphic>
      </p:graphicFrame>
      <p:pic>
        <p:nvPicPr>
          <p:cNvPr id="23" name="Grafik 22">
            <a:extLst>
              <a:ext uri="{FF2B5EF4-FFF2-40B4-BE49-F238E27FC236}">
                <a16:creationId xmlns:a16="http://schemas.microsoft.com/office/drawing/2014/main" id="{6FF0051B-894D-2492-903B-C07652BED0B3}"/>
              </a:ext>
            </a:extLst>
          </p:cNvPr>
          <p:cNvPicPr>
            <a:picLocks noChangeAspect="1"/>
          </p:cNvPicPr>
          <p:nvPr userDrawn="1"/>
        </p:nvPicPr>
        <p:blipFill>
          <a:blip r:embed="rId18">
            <a:extLst>
              <a:ext uri="{28A0092B-C50C-407E-A947-70E740481C1C}">
                <a14:useLocalDpi xmlns:a14="http://schemas.microsoft.com/office/drawing/2010/main" val="0"/>
              </a:ext>
              <a:ext uri="{96DAC541-7B7A-43D3-8B79-37D633B846F1}">
                <asvg:svgBlip xmlns:asvg="http://schemas.microsoft.com/office/drawing/2016/SVG/main" xmlns="" r:embed="rId19"/>
              </a:ext>
            </a:extLst>
          </a:blip>
          <a:srcRect r="33704"/>
          <a:stretch>
            <a:fillRect/>
          </a:stretch>
        </p:blipFill>
        <p:spPr>
          <a:xfrm>
            <a:off x="10300078" y="351433"/>
            <a:ext cx="1891923" cy="663996"/>
          </a:xfrm>
          <a:custGeom>
            <a:avLst/>
            <a:gdLst>
              <a:gd name="connsiteX0" fmla="*/ 0 w 1891923"/>
              <a:gd name="connsiteY0" fmla="*/ 0 h 663996"/>
              <a:gd name="connsiteX1" fmla="*/ 1891923 w 1891923"/>
              <a:gd name="connsiteY1" fmla="*/ 0 h 663996"/>
              <a:gd name="connsiteX2" fmla="*/ 1891923 w 1891923"/>
              <a:gd name="connsiteY2" fmla="*/ 663996 h 663996"/>
              <a:gd name="connsiteX3" fmla="*/ 0 w 1891923"/>
              <a:gd name="connsiteY3" fmla="*/ 663996 h 663996"/>
            </a:gdLst>
            <a:ahLst/>
            <a:cxnLst>
              <a:cxn ang="0">
                <a:pos x="connsiteX0" y="connsiteY0"/>
              </a:cxn>
              <a:cxn ang="0">
                <a:pos x="connsiteX1" y="connsiteY1"/>
              </a:cxn>
              <a:cxn ang="0">
                <a:pos x="connsiteX2" y="connsiteY2"/>
              </a:cxn>
              <a:cxn ang="0">
                <a:pos x="connsiteX3" y="connsiteY3"/>
              </a:cxn>
            </a:cxnLst>
            <a:rect l="l" t="t" r="r" b="b"/>
            <a:pathLst>
              <a:path w="1891923" h="663996">
                <a:moveTo>
                  <a:pt x="0" y="0"/>
                </a:moveTo>
                <a:lnTo>
                  <a:pt x="1891923" y="0"/>
                </a:lnTo>
                <a:lnTo>
                  <a:pt x="1891923" y="663996"/>
                </a:lnTo>
                <a:lnTo>
                  <a:pt x="0" y="663996"/>
                </a:lnTo>
                <a:close/>
              </a:path>
            </a:pathLst>
          </a:custGeom>
        </p:spPr>
      </p:pic>
      <p:sp>
        <p:nvSpPr>
          <p:cNvPr id="14" name="Ellipse 13">
            <a:extLst>
              <a:ext uri="{FF2B5EF4-FFF2-40B4-BE49-F238E27FC236}">
                <a16:creationId xmlns:a16="http://schemas.microsoft.com/office/drawing/2014/main" id="{5FFF2F84-F1CD-FEA8-018B-4744BE12CC13}"/>
              </a:ext>
            </a:extLst>
          </p:cNvPr>
          <p:cNvSpPr/>
          <p:nvPr userDrawn="1"/>
        </p:nvSpPr>
        <p:spPr>
          <a:xfrm>
            <a:off x="10741438" y="233431"/>
            <a:ext cx="900000" cy="900000"/>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5" name="Gerader Verbinder 14">
            <a:extLst>
              <a:ext uri="{FF2B5EF4-FFF2-40B4-BE49-F238E27FC236}">
                <a16:creationId xmlns:a16="http://schemas.microsoft.com/office/drawing/2014/main" id="{9FA7B72F-B3BA-81E9-D6DE-8F9B655AE949}"/>
              </a:ext>
            </a:extLst>
          </p:cNvPr>
          <p:cNvCxnSpPr>
            <a:cxnSpLocks/>
          </p:cNvCxnSpPr>
          <p:nvPr userDrawn="1"/>
        </p:nvCxnSpPr>
        <p:spPr>
          <a:xfrm>
            <a:off x="560515" y="6484664"/>
            <a:ext cx="180000" cy="0"/>
          </a:xfrm>
          <a:prstGeom prst="line">
            <a:avLst/>
          </a:prstGeom>
          <a:ln cap="rnd">
            <a:solidFill>
              <a:schemeClr val="accent3"/>
            </a:solidFill>
            <a:round/>
          </a:ln>
        </p:spPr>
        <p:style>
          <a:lnRef idx="2">
            <a:schemeClr val="accent1"/>
          </a:lnRef>
          <a:fillRef idx="0">
            <a:schemeClr val="accent1"/>
          </a:fillRef>
          <a:effectRef idx="1">
            <a:schemeClr val="accent1"/>
          </a:effectRef>
          <a:fontRef idx="minor">
            <a:schemeClr val="tx1"/>
          </a:fontRef>
        </p:style>
      </p:cxnSp>
      <p:sp>
        <p:nvSpPr>
          <p:cNvPr id="17" name="Foliennummernplatzhalter 5">
            <a:extLst>
              <a:ext uri="{FF2B5EF4-FFF2-40B4-BE49-F238E27FC236}">
                <a16:creationId xmlns:a16="http://schemas.microsoft.com/office/drawing/2014/main" id="{A3C1860A-70B3-F389-5567-3C6CADE2922E}"/>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
        <p:nvSpPr>
          <p:cNvPr id="3" name="Freihandform: Form 2">
            <a:extLst>
              <a:ext uri="{FF2B5EF4-FFF2-40B4-BE49-F238E27FC236}">
                <a16:creationId xmlns:a16="http://schemas.microsoft.com/office/drawing/2014/main" id="{99DF418E-330C-95F3-EF99-9D78611CF846}"/>
              </a:ext>
            </a:extLst>
          </p:cNvPr>
          <p:cNvSpPr/>
          <p:nvPr userDrawn="1"/>
        </p:nvSpPr>
        <p:spPr>
          <a:xfrm>
            <a:off x="124855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7" name="Freihandform: Form 6">
            <a:extLst>
              <a:ext uri="{FF2B5EF4-FFF2-40B4-BE49-F238E27FC236}">
                <a16:creationId xmlns:a16="http://schemas.microsoft.com/office/drawing/2014/main" id="{57B4B18B-17CB-3FF4-6495-EE765CC2F59C}"/>
              </a:ext>
            </a:extLst>
          </p:cNvPr>
          <p:cNvSpPr/>
          <p:nvPr userDrawn="1"/>
        </p:nvSpPr>
        <p:spPr>
          <a:xfrm>
            <a:off x="55291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8" name="Freihandform: Form 7">
            <a:extLst>
              <a:ext uri="{FF2B5EF4-FFF2-40B4-BE49-F238E27FC236}">
                <a16:creationId xmlns:a16="http://schemas.microsoft.com/office/drawing/2014/main" id="{0817CAE1-25BE-2424-990B-3DFC4AC9B786}"/>
              </a:ext>
            </a:extLst>
          </p:cNvPr>
          <p:cNvSpPr/>
          <p:nvPr userDrawn="1"/>
        </p:nvSpPr>
        <p:spPr>
          <a:xfrm>
            <a:off x="692043"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9" name="Freihandform: Form 8">
            <a:extLst>
              <a:ext uri="{FF2B5EF4-FFF2-40B4-BE49-F238E27FC236}">
                <a16:creationId xmlns:a16="http://schemas.microsoft.com/office/drawing/2014/main" id="{7546EE0A-A10F-5771-4757-F7E31546EBDE}"/>
              </a:ext>
            </a:extLst>
          </p:cNvPr>
          <p:cNvSpPr/>
          <p:nvPr userDrawn="1"/>
        </p:nvSpPr>
        <p:spPr>
          <a:xfrm>
            <a:off x="831171"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0" name="Freihandform: Form 9">
            <a:extLst>
              <a:ext uri="{FF2B5EF4-FFF2-40B4-BE49-F238E27FC236}">
                <a16:creationId xmlns:a16="http://schemas.microsoft.com/office/drawing/2014/main" id="{51E5D05C-B8D3-0865-6488-4C7B8DC5CB6A}"/>
              </a:ext>
            </a:extLst>
          </p:cNvPr>
          <p:cNvSpPr/>
          <p:nvPr userDrawn="1"/>
        </p:nvSpPr>
        <p:spPr>
          <a:xfrm>
            <a:off x="970299"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1" name="Freihandform: Form 10">
            <a:extLst>
              <a:ext uri="{FF2B5EF4-FFF2-40B4-BE49-F238E27FC236}">
                <a16:creationId xmlns:a16="http://schemas.microsoft.com/office/drawing/2014/main" id="{ABB47EDA-C2AC-491F-A1C0-B0AAAFE10413}"/>
              </a:ext>
            </a:extLst>
          </p:cNvPr>
          <p:cNvSpPr/>
          <p:nvPr userDrawn="1"/>
        </p:nvSpPr>
        <p:spPr>
          <a:xfrm>
            <a:off x="1109427"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2262867172"/>
      </p:ext>
    </p:extLst>
  </p:cSld>
  <p:clrMap bg1="lt1" tx1="dk1" bg2="lt2" tx2="dk2" accent1="accent1" accent2="accent2" accent3="accent3" accent4="accent4" accent5="accent5" accent6="accent6" hlink="hlink" folHlink="folHlink"/>
  <p:sldLayoutIdLst>
    <p:sldLayoutId id="2147483649" r:id="rId1"/>
    <p:sldLayoutId id="2147483657" r:id="rId2"/>
    <p:sldLayoutId id="2147483661" r:id="rId3"/>
    <p:sldLayoutId id="2147483671" r:id="rId4"/>
    <p:sldLayoutId id="2147483662" r:id="rId5"/>
    <p:sldLayoutId id="2147483651" r:id="rId6"/>
    <p:sldLayoutId id="2147483663" r:id="rId7"/>
    <p:sldLayoutId id="2147483672" r:id="rId8"/>
    <p:sldLayoutId id="2147483664" r:id="rId9"/>
    <p:sldLayoutId id="2147483665" r:id="rId10"/>
    <p:sldLayoutId id="2147483666" r:id="rId11"/>
    <p:sldLayoutId id="2147483667"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46" userDrawn="1">
          <p15:clr>
            <a:srgbClr val="F26B43"/>
          </p15:clr>
        </p15:guide>
        <p15:guide id="4" orient="horz" pos="3974" userDrawn="1">
          <p15:clr>
            <a:srgbClr val="F26B43"/>
          </p15:clr>
        </p15:guide>
        <p15:guide id="5" pos="347" userDrawn="1">
          <p15:clr>
            <a:srgbClr val="F26B43"/>
          </p15:clr>
        </p15:guide>
        <p15:guide id="6" pos="7333" userDrawn="1">
          <p15:clr>
            <a:srgbClr val="F26B43"/>
          </p15:clr>
        </p15:guide>
        <p15:guide id="7" orient="horz" pos="104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70.svg"/></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14.xml"/><Relationship Id="rId5" Type="http://schemas.openxmlformats.org/officeDocument/2006/relationships/image" Target="../media/image18.jpeg"/><Relationship Id="rId4" Type="http://schemas.openxmlformats.org/officeDocument/2006/relationships/image" Target="../media/image22.svg"/></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1.xml"/><Relationship Id="rId1" Type="http://schemas.openxmlformats.org/officeDocument/2006/relationships/slideLayout" Target="../slideLayouts/slideLayout13.xml"/><Relationship Id="rId4" Type="http://schemas.openxmlformats.org/officeDocument/2006/relationships/image" Target="../media/image28.svg"/></Relationships>
</file>

<file path=ppt/slides/_rels/slide12.xml.rels><?xml version="1.0" encoding="UTF-8" standalone="yes"?>
<Relationships xmlns="http://schemas.openxmlformats.org/package/2006/relationships"><Relationship Id="rId3" Type="http://schemas.openxmlformats.org/officeDocument/2006/relationships/hyperlink" Target="https://mebis.bycs.de/beitrag/angebote-fuer-erziehungsberechtigte" TargetMode="External"/><Relationship Id="rId2" Type="http://schemas.openxmlformats.org/officeDocument/2006/relationships/notesSlide" Target="../notesSlides/notesSlide12.xml"/><Relationship Id="rId1" Type="http://schemas.openxmlformats.org/officeDocument/2006/relationships/slideLayout" Target="../slideLayouts/slideLayout14.xml"/><Relationship Id="rId4" Type="http://schemas.openxmlformats.org/officeDocument/2006/relationships/image" Target="../media/image20.png"/></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3.xml"/><Relationship Id="rId1" Type="http://schemas.openxmlformats.org/officeDocument/2006/relationships/slideLayout" Target="../slideLayouts/slideLayout14.xml"/><Relationship Id="rId4" Type="http://schemas.openxmlformats.org/officeDocument/2006/relationships/image" Target="../media/image22.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15.svg"/></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6.xml"/><Relationship Id="rId1" Type="http://schemas.openxmlformats.org/officeDocument/2006/relationships/slideLayout" Target="../slideLayouts/slideLayout11.xml"/><Relationship Id="rId4" Type="http://schemas.openxmlformats.org/officeDocument/2006/relationships/image" Target="../media/image26.svg"/></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7.xml"/><Relationship Id="rId1" Type="http://schemas.openxmlformats.org/officeDocument/2006/relationships/slideLayout" Target="../slideLayouts/slideLayout13.xml"/><Relationship Id="rId4" Type="http://schemas.openxmlformats.org/officeDocument/2006/relationships/image" Target="../media/image28.sv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5.svg"/><Relationship Id="rId2" Type="http://schemas.microsoft.com/office/2007/relationships/media" Target="../media/media1.mp4"/><Relationship Id="rId1" Type="http://schemas.openxmlformats.org/officeDocument/2006/relationships/video" Target="NULL" TargetMode="Externa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14.xml"/><Relationship Id="rId5" Type="http://schemas.openxmlformats.org/officeDocument/2006/relationships/image" Target="../media/image14.jpeg"/><Relationship Id="rId4" Type="http://schemas.openxmlformats.org/officeDocument/2006/relationships/image" Target="../media/image22.svg"/></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14.xml"/><Relationship Id="rId5" Type="http://schemas.openxmlformats.org/officeDocument/2006/relationships/image" Target="../media/image15.jpeg"/><Relationship Id="rId4" Type="http://schemas.openxmlformats.org/officeDocument/2006/relationships/image" Target="../media/image22.svg"/></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14.xml"/><Relationship Id="rId5" Type="http://schemas.openxmlformats.org/officeDocument/2006/relationships/image" Target="../media/image15.jpeg"/><Relationship Id="rId4" Type="http://schemas.openxmlformats.org/officeDocument/2006/relationships/image" Target="../media/image22.svg"/></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14.xml"/><Relationship Id="rId5" Type="http://schemas.openxmlformats.org/officeDocument/2006/relationships/image" Target="../media/image16.jpeg"/><Relationship Id="rId4" Type="http://schemas.openxmlformats.org/officeDocument/2006/relationships/image" Target="../media/image22.svg"/></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14.xml"/><Relationship Id="rId5" Type="http://schemas.openxmlformats.org/officeDocument/2006/relationships/image" Target="../media/image17.jpeg"/><Relationship Id="rId4" Type="http://schemas.openxmlformats.org/officeDocument/2006/relationships/image" Target="../media/image22.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5C9A82C6-E349-29AC-61D9-A1037CBB1E04}"/>
              </a:ext>
            </a:extLst>
          </p:cNvPr>
          <p:cNvSpPr>
            <a:spLocks noGrp="1"/>
          </p:cNvSpPr>
          <p:nvPr>
            <p:ph type="body" sz="quarter" idx="11"/>
          </p:nvPr>
        </p:nvSpPr>
        <p:spPr/>
        <p:txBody>
          <a:bodyPr/>
          <a:lstStyle/>
          <a:p>
            <a:pPr>
              <a:lnSpc>
                <a:spcPct val="110000"/>
              </a:lnSpc>
            </a:pPr>
            <a:r>
              <a:rPr lang="de-DE" sz="1800" spc="100" dirty="0">
                <a:solidFill>
                  <a:schemeClr val="tx1">
                    <a:lumMod val="75000"/>
                    <a:lumOff val="25000"/>
                  </a:schemeClr>
                </a:solidFill>
                <a:effectLst/>
                <a:latin typeface="Segoe UI" panose="020B0502040204020203" pitchFamily="34" charset="0"/>
                <a:ea typeface="Calibri" panose="020F0502020204030204" pitchFamily="34" charset="0"/>
                <a:cs typeface="Segoe UI" panose="020B0502040204020203" pitchFamily="34" charset="0"/>
              </a:rPr>
              <a:t>Herzlich Willkommen </a:t>
            </a:r>
            <a:br>
              <a:rPr lang="de-DE" sz="1800" spc="100" dirty="0">
                <a:solidFill>
                  <a:schemeClr val="tx1">
                    <a:lumMod val="75000"/>
                    <a:lumOff val="25000"/>
                  </a:schemeClr>
                </a:solidFill>
                <a:effectLst/>
                <a:latin typeface="Segoe UI" panose="020B0502040204020203" pitchFamily="34" charset="0"/>
                <a:ea typeface="Calibri" panose="020F0502020204030204" pitchFamily="34" charset="0"/>
                <a:cs typeface="Segoe UI" panose="020B0502040204020203" pitchFamily="34" charset="0"/>
              </a:rPr>
            </a:br>
            <a:r>
              <a:rPr lang="de-DE" sz="1800" spc="100" dirty="0">
                <a:solidFill>
                  <a:schemeClr val="tx1">
                    <a:lumMod val="75000"/>
                    <a:lumOff val="25000"/>
                  </a:schemeClr>
                </a:solidFill>
                <a:effectLst/>
                <a:latin typeface="Segoe UI" panose="020B0502040204020203" pitchFamily="34" charset="0"/>
                <a:ea typeface="Calibri" panose="020F0502020204030204" pitchFamily="34" charset="0"/>
                <a:cs typeface="Segoe UI" panose="020B0502040204020203" pitchFamily="34" charset="0"/>
              </a:rPr>
              <a:t>zum Elternabend am XX.XX.XXXX </a:t>
            </a:r>
            <a:endParaRPr lang="de-DE" spc="1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5" name="Textplatzhalter 4">
            <a:extLst>
              <a:ext uri="{FF2B5EF4-FFF2-40B4-BE49-F238E27FC236}">
                <a16:creationId xmlns:a16="http://schemas.microsoft.com/office/drawing/2014/main" id="{A20794B0-76AE-0BCF-80FB-EB0726220C2C}"/>
              </a:ext>
            </a:extLst>
          </p:cNvPr>
          <p:cNvSpPr>
            <a:spLocks noGrp="1"/>
          </p:cNvSpPr>
          <p:nvPr>
            <p:ph type="body" sz="quarter" idx="10"/>
          </p:nvPr>
        </p:nvSpPr>
        <p:spPr/>
        <p:txBody>
          <a:bodyPr/>
          <a:lstStyle/>
          <a:p>
            <a:r>
              <a:rPr lang="de-DE" dirty="0">
                <a:latin typeface="Segoe UI" panose="020B0502040204020203" pitchFamily="34" charset="0"/>
                <a:cs typeface="Segoe UI" panose="020B0502040204020203" pitchFamily="34" charset="0"/>
              </a:rPr>
              <a:t>Sexualisierte Inhalte</a:t>
            </a:r>
          </a:p>
        </p:txBody>
      </p:sp>
      <p:sp>
        <p:nvSpPr>
          <p:cNvPr id="4" name="Textfeld 3"/>
          <p:cNvSpPr txBox="1"/>
          <p:nvPr/>
        </p:nvSpPr>
        <p:spPr>
          <a:xfrm>
            <a:off x="550863" y="4987762"/>
            <a:ext cx="4813617" cy="830997"/>
          </a:xfrm>
          <a:prstGeom prst="rect">
            <a:avLst/>
          </a:prstGeom>
          <a:noFill/>
        </p:spPr>
        <p:txBody>
          <a:bodyPr wrap="square" lIns="0" rIns="0" rtlCol="0">
            <a:spAutoFit/>
          </a:bodyPr>
          <a:lstStyle/>
          <a:p>
            <a:r>
              <a:rPr lang="de-DE" sz="2400" b="1" dirty="0" smtClean="0">
                <a:solidFill>
                  <a:schemeClr val="accent3"/>
                </a:solidFill>
              </a:rPr>
              <a:t>Thema:</a:t>
            </a:r>
            <a:br>
              <a:rPr lang="de-DE" sz="2400" b="1" dirty="0" smtClean="0">
                <a:solidFill>
                  <a:schemeClr val="accent3"/>
                </a:solidFill>
              </a:rPr>
            </a:br>
            <a:r>
              <a:rPr lang="de-DE" sz="2400" b="1" dirty="0" smtClean="0">
                <a:solidFill>
                  <a:schemeClr val="accent3"/>
                </a:solidFill>
              </a:rPr>
              <a:t>Problematische Körperbilder</a:t>
            </a:r>
            <a:endParaRPr lang="de-DE" sz="2400" b="1" dirty="0">
              <a:solidFill>
                <a:schemeClr val="accent3"/>
              </a:solidFill>
            </a:endParaRPr>
          </a:p>
        </p:txBody>
      </p:sp>
      <p:pic>
        <p:nvPicPr>
          <p:cNvPr id="8" name="Grafik 7">
            <a:extLst>
              <a:ext uri="{FF2B5EF4-FFF2-40B4-BE49-F238E27FC236}">
                <a16:creationId xmlns:a16="http://schemas.microsoft.com/office/drawing/2014/main" id="{5BC8A29A-AB98-E3A7-62CD-DE30A7EA08D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xmlns="" r:embed="rId5"/>
              </a:ext>
            </a:extLst>
          </a:blip>
          <a:srcRect r="5427"/>
          <a:stretch>
            <a:fillRect/>
          </a:stretch>
        </p:blipFill>
        <p:spPr>
          <a:xfrm>
            <a:off x="5068266" y="1396176"/>
            <a:ext cx="8114487" cy="6065895"/>
          </a:xfrm>
          <a:custGeom>
            <a:avLst/>
            <a:gdLst>
              <a:gd name="connsiteX0" fmla="*/ 0 w 8353647"/>
              <a:gd name="connsiteY0" fmla="*/ 0 h 6244676"/>
              <a:gd name="connsiteX1" fmla="*/ 8353647 w 8353647"/>
              <a:gd name="connsiteY1" fmla="*/ 0 h 6244676"/>
              <a:gd name="connsiteX2" fmla="*/ 8353647 w 8353647"/>
              <a:gd name="connsiteY2" fmla="*/ 6244676 h 6244676"/>
              <a:gd name="connsiteX3" fmla="*/ 0 w 8353647"/>
              <a:gd name="connsiteY3" fmla="*/ 6244676 h 6244676"/>
            </a:gdLst>
            <a:ahLst/>
            <a:cxnLst>
              <a:cxn ang="0">
                <a:pos x="connsiteX0" y="connsiteY0"/>
              </a:cxn>
              <a:cxn ang="0">
                <a:pos x="connsiteX1" y="connsiteY1"/>
              </a:cxn>
              <a:cxn ang="0">
                <a:pos x="connsiteX2" y="connsiteY2"/>
              </a:cxn>
              <a:cxn ang="0">
                <a:pos x="connsiteX3" y="connsiteY3"/>
              </a:cxn>
            </a:cxnLst>
            <a:rect l="l" t="t" r="r" b="b"/>
            <a:pathLst>
              <a:path w="8353647" h="6244676">
                <a:moveTo>
                  <a:pt x="0" y="0"/>
                </a:moveTo>
                <a:lnTo>
                  <a:pt x="8353647" y="0"/>
                </a:lnTo>
                <a:lnTo>
                  <a:pt x="8353647" y="6244676"/>
                </a:lnTo>
                <a:lnTo>
                  <a:pt x="0" y="6244676"/>
                </a:lnTo>
                <a:close/>
              </a:path>
            </a:pathLst>
          </a:custGeom>
        </p:spPr>
      </p:pic>
    </p:spTree>
    <p:extLst>
      <p:ext uri="{BB962C8B-B14F-4D97-AF65-F5344CB8AC3E}">
        <p14:creationId xmlns:p14="http://schemas.microsoft.com/office/powerpoint/2010/main" val="177719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p:cNvSpPr>
            <a:spLocks noGrp="1"/>
          </p:cNvSpPr>
          <p:nvPr>
            <p:ph type="body" sz="quarter" idx="10"/>
          </p:nvPr>
        </p:nvSpPr>
        <p:spPr/>
        <p:txBody>
          <a:bodyPr/>
          <a:lstStyle/>
          <a:p>
            <a:endParaRPr lang="de-DE"/>
          </a:p>
        </p:txBody>
      </p:sp>
      <p:sp>
        <p:nvSpPr>
          <p:cNvPr id="9" name="Textplatzhalter 8"/>
          <p:cNvSpPr>
            <a:spLocks noGrp="1"/>
          </p:cNvSpPr>
          <p:nvPr>
            <p:ph type="body" sz="quarter" idx="11"/>
          </p:nvPr>
        </p:nvSpPr>
        <p:spPr/>
        <p:txBody>
          <a:bodyPr/>
          <a:lstStyle/>
          <a:p>
            <a:r>
              <a:rPr lang="de-DE" dirty="0" smtClean="0"/>
              <a:t>Praxisbeispiel</a:t>
            </a:r>
            <a:endParaRPr lang="de-DE" dirty="0"/>
          </a:p>
        </p:txBody>
      </p:sp>
      <p:sp>
        <p:nvSpPr>
          <p:cNvPr id="10" name="Textplatzhalter 9"/>
          <p:cNvSpPr>
            <a:spLocks noGrp="1"/>
          </p:cNvSpPr>
          <p:nvPr>
            <p:ph type="body" sz="quarter" idx="13"/>
          </p:nvPr>
        </p:nvSpPr>
        <p:spPr/>
        <p:txBody>
          <a:bodyPr/>
          <a:lstStyle/>
          <a:p>
            <a:endParaRPr lang="de-DE"/>
          </a:p>
        </p:txBody>
      </p:sp>
      <p:sp>
        <p:nvSpPr>
          <p:cNvPr id="7" name="Foliennummernplatzhalter 6"/>
          <p:cNvSpPr>
            <a:spLocks noGrp="1"/>
          </p:cNvSpPr>
          <p:nvPr>
            <p:ph type="sldNum" sz="quarter" idx="4"/>
          </p:nvPr>
        </p:nvSpPr>
        <p:spPr/>
        <p:txBody>
          <a:bodyPr/>
          <a:lstStyle/>
          <a:p>
            <a:fld id="{B3D266E1-CF7D-47E8-B8E6-FE2361DFB2DF}" type="slidenum">
              <a:rPr lang="de-DE" smtClean="0"/>
              <a:pPr/>
              <a:t>10</a:t>
            </a:fld>
            <a:endParaRPr lang="de-DE" dirty="0"/>
          </a:p>
        </p:txBody>
      </p:sp>
      <p:pic>
        <p:nvPicPr>
          <p:cNvPr id="11" name="Grafik 10">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0929388" y="413431"/>
            <a:ext cx="540000" cy="540000"/>
          </a:xfrm>
          <a:prstGeom prst="rect">
            <a:avLst/>
          </a:prstGeom>
        </p:spPr>
      </p:pic>
      <p:pic>
        <p:nvPicPr>
          <p:cNvPr id="12" name="Inhaltsplatzhalter 4">
            <a:extLst>
              <a:ext uri="{FF2B5EF4-FFF2-40B4-BE49-F238E27FC236}">
                <a16:creationId xmlns:a16="http://schemas.microsoft.com/office/drawing/2014/main" id="{8451A460-C501-EC01-A856-810A7878E76F}"/>
              </a:ext>
            </a:extLst>
          </p:cNvPr>
          <p:cNvPicPr>
            <a:picLocks noChangeAspect="1"/>
          </p:cNvPicPr>
          <p:nvPr/>
        </p:nvPicPr>
        <p:blipFill rotWithShape="1">
          <a:blip r:embed="rId5">
            <a:extLst>
              <a:ext uri="{28A0092B-C50C-407E-A947-70E740481C1C}">
                <a14:useLocalDpi xmlns:a14="http://schemas.microsoft.com/office/drawing/2010/main" val="0"/>
              </a:ext>
            </a:extLst>
          </a:blip>
          <a:srcRect l="2157" t="65301" r="2080" b="1652"/>
          <a:stretch/>
        </p:blipFill>
        <p:spPr>
          <a:xfrm>
            <a:off x="554327" y="1665288"/>
            <a:ext cx="9535828" cy="4643437"/>
          </a:xfrm>
          <a:prstGeom prst="rect">
            <a:avLst/>
          </a:prstGeom>
        </p:spPr>
      </p:pic>
    </p:spTree>
    <p:extLst>
      <p:ext uri="{BB962C8B-B14F-4D97-AF65-F5344CB8AC3E}">
        <p14:creationId xmlns:p14="http://schemas.microsoft.com/office/powerpoint/2010/main" val="217980976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platzhalter 22">
            <a:extLst>
              <a:ext uri="{FF2B5EF4-FFF2-40B4-BE49-F238E27FC236}">
                <a16:creationId xmlns:a16="http://schemas.microsoft.com/office/drawing/2014/main" id="{F6BE73CA-1BA8-664B-1249-773C6A11AA98}"/>
              </a:ext>
            </a:extLst>
          </p:cNvPr>
          <p:cNvSpPr>
            <a:spLocks noGrp="1"/>
          </p:cNvSpPr>
          <p:nvPr>
            <p:ph type="body" sz="quarter" idx="18"/>
          </p:nvPr>
        </p:nvSpPr>
        <p:spPr>
          <a:xfrm>
            <a:off x="648230" y="2766764"/>
            <a:ext cx="3513138" cy="615553"/>
          </a:xfrm>
        </p:spPr>
        <p:txBody>
          <a:bodyPr/>
          <a:lstStyle/>
          <a:p>
            <a:r>
              <a:rPr lang="de-DE" dirty="0">
                <a:latin typeface="Segoe UI" panose="020B0502040204020203" pitchFamily="34" charset="0"/>
                <a:cs typeface="Segoe UI" panose="020B0502040204020203" pitchFamily="34" charset="0"/>
              </a:rPr>
              <a:t>Interesse zeigen </a:t>
            </a:r>
            <a:r>
              <a:rPr lang="de-DE" dirty="0" smtClean="0">
                <a:latin typeface="Segoe UI" panose="020B0502040204020203" pitchFamily="34" charset="0"/>
                <a:cs typeface="Segoe UI" panose="020B0502040204020203" pitchFamily="34" charset="0"/>
              </a:rPr>
              <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und </a:t>
            </a:r>
            <a:r>
              <a:rPr lang="de-DE" dirty="0">
                <a:latin typeface="Segoe UI" panose="020B0502040204020203" pitchFamily="34" charset="0"/>
                <a:cs typeface="Segoe UI" panose="020B0502040204020203" pitchFamily="34" charset="0"/>
              </a:rPr>
              <a:t>offen sei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6" name="Textplatzhalter 15">
            <a:extLst>
              <a:ext uri="{FF2B5EF4-FFF2-40B4-BE49-F238E27FC236}">
                <a16:creationId xmlns:a16="http://schemas.microsoft.com/office/drawing/2014/main" id="{F0C21D39-CA66-C362-17AB-BAC287D39A20}"/>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17" name="Textplatzhalter 16">
            <a:extLst>
              <a:ext uri="{FF2B5EF4-FFF2-40B4-BE49-F238E27FC236}">
                <a16:creationId xmlns:a16="http://schemas.microsoft.com/office/drawing/2014/main" id="{483E97A6-9756-D62A-8067-B41794A41323}"/>
              </a:ext>
            </a:extLst>
          </p:cNvPr>
          <p:cNvSpPr>
            <a:spLocks noGrp="1"/>
          </p:cNvSpPr>
          <p:nvPr>
            <p:ph type="body" sz="quarter" idx="11"/>
          </p:nvPr>
        </p:nvSpPr>
        <p:spPr>
          <a:xfrm>
            <a:off x="556650" y="778589"/>
            <a:ext cx="9209813" cy="861774"/>
          </a:xfrm>
        </p:spPr>
        <p:txBody>
          <a:bodyPr/>
          <a:lstStyle/>
          <a:p>
            <a:r>
              <a:rPr lang="de-DE" sz="2800" b="1" spc="100" dirty="0" smtClean="0">
                <a:latin typeface="Segoe UI" panose="020B0502040204020203" pitchFamily="34" charset="0"/>
                <a:cs typeface="Segoe UI" panose="020B0502040204020203" pitchFamily="34" charset="0"/>
              </a:rPr>
              <a:t>HANDLUNGSTIPPS </a:t>
            </a:r>
            <a:br>
              <a:rPr lang="de-DE" sz="2800" b="1" spc="100" dirty="0" smtClean="0">
                <a:latin typeface="Segoe UI" panose="020B0502040204020203" pitchFamily="34" charset="0"/>
                <a:cs typeface="Segoe UI" panose="020B0502040204020203" pitchFamily="34" charset="0"/>
              </a:rPr>
            </a:br>
            <a:r>
              <a:rPr lang="de-DE" sz="2800" b="1" spc="100" dirty="0" smtClean="0">
                <a:latin typeface="Segoe UI" panose="020B0502040204020203" pitchFamily="34" charset="0"/>
                <a:cs typeface="Segoe UI" panose="020B0502040204020203" pitchFamily="34" charset="0"/>
              </a:rPr>
              <a:t>zu </a:t>
            </a:r>
            <a:r>
              <a:rPr lang="de-DE" dirty="0" smtClean="0"/>
              <a:t>Problematischen Körperbildern </a:t>
            </a:r>
            <a:endParaRPr lang="de-DE" sz="2800" b="1" spc="100" dirty="0">
              <a:latin typeface="Segoe UI" panose="020B0502040204020203" pitchFamily="34" charset="0"/>
              <a:cs typeface="Segoe UI" panose="020B0502040204020203" pitchFamily="34" charset="0"/>
            </a:endParaRPr>
          </a:p>
        </p:txBody>
      </p:sp>
      <p:sp>
        <p:nvSpPr>
          <p:cNvPr id="19" name="Textplatzhalter 18">
            <a:extLst>
              <a:ext uri="{FF2B5EF4-FFF2-40B4-BE49-F238E27FC236}">
                <a16:creationId xmlns:a16="http://schemas.microsoft.com/office/drawing/2014/main" id="{0748A763-B60D-B93C-8417-9DD8F42131D9}"/>
              </a:ext>
            </a:extLst>
          </p:cNvPr>
          <p:cNvSpPr>
            <a:spLocks noGrp="1"/>
          </p:cNvSpPr>
          <p:nvPr>
            <p:ph type="body" sz="quarter" idx="14"/>
          </p:nvPr>
        </p:nvSpPr>
        <p:spPr>
          <a:xfrm>
            <a:off x="8013700" y="2766764"/>
            <a:ext cx="3513138" cy="615553"/>
          </a:xfrm>
        </p:spPr>
        <p:txBody>
          <a:bodyPr/>
          <a:lstStyle/>
          <a:p>
            <a:r>
              <a:rPr lang="de-DE" dirty="0">
                <a:latin typeface="Segoe UI" panose="020B0502040204020203" pitchFamily="34" charset="0"/>
                <a:cs typeface="Segoe UI" panose="020B0502040204020203" pitchFamily="34" charset="0"/>
              </a:rPr>
              <a:t>Schönheitsideale </a:t>
            </a:r>
            <a:r>
              <a:rPr lang="de-DE" dirty="0" smtClean="0">
                <a:latin typeface="Segoe UI" panose="020B0502040204020203" pitchFamily="34" charset="0"/>
                <a:cs typeface="Segoe UI" panose="020B0502040204020203" pitchFamily="34" charset="0"/>
              </a:rPr>
              <a:t>thematisieren und Alternativen </a:t>
            </a:r>
            <a:r>
              <a:rPr lang="de-DE" dirty="0">
                <a:latin typeface="Segoe UI" panose="020B0502040204020203" pitchFamily="34" charset="0"/>
                <a:cs typeface="Segoe UI" panose="020B0502040204020203" pitchFamily="34" charset="0"/>
              </a:rPr>
              <a:t>anbiet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0" name="Textplatzhalter 19">
            <a:extLst>
              <a:ext uri="{FF2B5EF4-FFF2-40B4-BE49-F238E27FC236}">
                <a16:creationId xmlns:a16="http://schemas.microsoft.com/office/drawing/2014/main" id="{3830A056-3353-7ACE-0188-431FB7A02CFE}"/>
              </a:ext>
            </a:extLst>
          </p:cNvPr>
          <p:cNvSpPr>
            <a:spLocks noGrp="1"/>
          </p:cNvSpPr>
          <p:nvPr>
            <p:ph type="body" sz="quarter" idx="15"/>
          </p:nvPr>
        </p:nvSpPr>
        <p:spPr>
          <a:xfrm>
            <a:off x="8115300" y="4064524"/>
            <a:ext cx="3525838" cy="923330"/>
          </a:xfrm>
        </p:spPr>
        <p:txBody>
          <a:bodyPr/>
          <a:lstStyle/>
          <a:p>
            <a:r>
              <a:rPr lang="de-DE" dirty="0">
                <a:latin typeface="Segoe UI" panose="020B0502040204020203" pitchFamily="34" charset="0"/>
                <a:cs typeface="Segoe UI" panose="020B0502040204020203" pitchFamily="34" charset="0"/>
              </a:rPr>
              <a:t>Problematische Körper- und </a:t>
            </a:r>
            <a:r>
              <a:rPr lang="de-DE" dirty="0" smtClean="0">
                <a:latin typeface="Segoe UI" panose="020B0502040204020203" pitchFamily="34" charset="0"/>
                <a:cs typeface="Segoe UI" panose="020B0502040204020203" pitchFamily="34" charset="0"/>
              </a:rPr>
              <a:t>Rollenbilder in </a:t>
            </a:r>
            <a:r>
              <a:rPr lang="de-DE" dirty="0">
                <a:latin typeface="Segoe UI" panose="020B0502040204020203" pitchFamily="34" charset="0"/>
                <a:cs typeface="Segoe UI" panose="020B0502040204020203" pitchFamily="34" charset="0"/>
              </a:rPr>
              <a:t>den Medien besprech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1" name="Textplatzhalter 20">
            <a:extLst>
              <a:ext uri="{FF2B5EF4-FFF2-40B4-BE49-F238E27FC236}">
                <a16:creationId xmlns:a16="http://schemas.microsoft.com/office/drawing/2014/main" id="{5978C8DF-25A2-8784-9A02-4F06D6B863EC}"/>
              </a:ext>
            </a:extLst>
          </p:cNvPr>
          <p:cNvSpPr>
            <a:spLocks noGrp="1"/>
          </p:cNvSpPr>
          <p:nvPr>
            <p:ph type="body" sz="quarter" idx="16"/>
          </p:nvPr>
        </p:nvSpPr>
        <p:spPr>
          <a:xfrm>
            <a:off x="7636205" y="5243899"/>
            <a:ext cx="4004933" cy="615553"/>
          </a:xfrm>
        </p:spPr>
        <p:txBody>
          <a:bodyPr/>
          <a:lstStyle/>
          <a:p>
            <a:r>
              <a:rPr lang="de-DE" dirty="0">
                <a:latin typeface="Segoe UI" panose="020B0502040204020203" pitchFamily="34" charset="0"/>
                <a:cs typeface="Segoe UI" panose="020B0502040204020203" pitchFamily="34" charset="0"/>
              </a:rPr>
              <a:t>Sich </a:t>
            </a:r>
            <a:r>
              <a:rPr lang="de-DE" dirty="0" smtClean="0">
                <a:latin typeface="Segoe UI" panose="020B0502040204020203" pitchFamily="34" charset="0"/>
                <a:cs typeface="Segoe UI" panose="020B0502040204020203" pitchFamily="34" charset="0"/>
              </a:rPr>
              <a:t>Hilfe</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such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2" name="Textplatzhalter 21">
            <a:extLst>
              <a:ext uri="{FF2B5EF4-FFF2-40B4-BE49-F238E27FC236}">
                <a16:creationId xmlns:a16="http://schemas.microsoft.com/office/drawing/2014/main" id="{447101AD-1E03-93AB-EBCF-B2CFB0C96528}"/>
              </a:ext>
            </a:extLst>
          </p:cNvPr>
          <p:cNvSpPr>
            <a:spLocks noGrp="1"/>
          </p:cNvSpPr>
          <p:nvPr>
            <p:ph type="body" sz="quarter" idx="17"/>
          </p:nvPr>
        </p:nvSpPr>
        <p:spPr>
          <a:xfrm>
            <a:off x="554327" y="4149834"/>
            <a:ext cx="3525837" cy="615553"/>
          </a:xfrm>
        </p:spPr>
        <p:txBody>
          <a:bodyPr/>
          <a:lstStyle/>
          <a:p>
            <a:r>
              <a:rPr lang="de-DE" dirty="0">
                <a:latin typeface="Segoe UI" panose="020B0502040204020203" pitchFamily="34" charset="0"/>
                <a:cs typeface="Segoe UI" panose="020B0502040204020203" pitchFamily="34" charset="0"/>
              </a:rPr>
              <a:t>Inszenierung von Körpern in den Medien besprechen</a:t>
            </a:r>
            <a:endParaRPr lang="de-DE" sz="2000" i="0" u="none" strike="noStrike"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4" name="Textplatzhalter 23">
            <a:extLst>
              <a:ext uri="{FF2B5EF4-FFF2-40B4-BE49-F238E27FC236}">
                <a16:creationId xmlns:a16="http://schemas.microsoft.com/office/drawing/2014/main" id="{B9A9BCDA-C69B-3820-3AD1-D4BAFF033BF7}"/>
              </a:ext>
            </a:extLst>
          </p:cNvPr>
          <p:cNvSpPr>
            <a:spLocks noGrp="1"/>
          </p:cNvSpPr>
          <p:nvPr>
            <p:ph type="body" sz="quarter" idx="19"/>
          </p:nvPr>
        </p:nvSpPr>
        <p:spPr>
          <a:xfrm>
            <a:off x="554327" y="5243899"/>
            <a:ext cx="4000625" cy="615553"/>
          </a:xfrm>
        </p:spPr>
        <p:txBody>
          <a:bodyPr/>
          <a:lstStyle/>
          <a:p>
            <a:r>
              <a:rPr lang="de-DE" dirty="0">
                <a:latin typeface="Segoe UI" panose="020B0502040204020203" pitchFamily="34" charset="0"/>
                <a:cs typeface="Segoe UI" panose="020B0502040204020203" pitchFamily="34" charset="0"/>
              </a:rPr>
              <a:t>Selbstwertgefühl </a:t>
            </a:r>
            <a:r>
              <a:rPr lang="de-DE" dirty="0" smtClean="0">
                <a:latin typeface="Segoe UI" panose="020B0502040204020203" pitchFamily="34" charset="0"/>
                <a:cs typeface="Segoe UI" panose="020B0502040204020203" pitchFamily="34" charset="0"/>
              </a:rPr>
              <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stärk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pic>
        <p:nvPicPr>
          <p:cNvPr id="25" name="Grafik 24">
            <a:extLst>
              <a:ext uri="{FF2B5EF4-FFF2-40B4-BE49-F238E27FC236}">
                <a16:creationId xmlns:a16="http://schemas.microsoft.com/office/drawing/2014/main" id="{617360F2-CCD6-0859-54FF-02CD24BDA6D7}"/>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1039858" y="413431"/>
            <a:ext cx="319061" cy="540000"/>
          </a:xfrm>
          <a:prstGeom prst="rect">
            <a:avLst/>
          </a:prstGeom>
        </p:spPr>
      </p:pic>
      <p:sp>
        <p:nvSpPr>
          <p:cNvPr id="3" name="Foliennummernplatzhalter 5">
            <a:extLst>
              <a:ext uri="{FF2B5EF4-FFF2-40B4-BE49-F238E27FC236}">
                <a16:creationId xmlns:a16="http://schemas.microsoft.com/office/drawing/2014/main" id="{4142B8FA-7607-B8F3-D44B-E61F8805F1AD}"/>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11</a:t>
            </a:fld>
            <a:endParaRPr lang="de-DE" dirty="0"/>
          </a:p>
        </p:txBody>
      </p:sp>
      <p:grpSp>
        <p:nvGrpSpPr>
          <p:cNvPr id="13" name="Gruppieren 12">
            <a:extLst>
              <a:ext uri="{FF2B5EF4-FFF2-40B4-BE49-F238E27FC236}">
                <a16:creationId xmlns:a16="http://schemas.microsoft.com/office/drawing/2014/main" id="{F81ADD89-8741-C83D-05E0-93F394152FE6}"/>
              </a:ext>
            </a:extLst>
          </p:cNvPr>
          <p:cNvGrpSpPr/>
          <p:nvPr/>
        </p:nvGrpSpPr>
        <p:grpSpPr>
          <a:xfrm>
            <a:off x="4386552" y="2624540"/>
            <a:ext cx="900000" cy="900000"/>
            <a:chOff x="4289185" y="3182474"/>
            <a:chExt cx="900000" cy="900000"/>
          </a:xfrm>
        </p:grpSpPr>
        <p:sp>
          <p:nvSpPr>
            <p:cNvPr id="14" name="Ellipse 13">
              <a:extLst>
                <a:ext uri="{FF2B5EF4-FFF2-40B4-BE49-F238E27FC236}">
                  <a16:creationId xmlns:a16="http://schemas.microsoft.com/office/drawing/2014/main" id="{A6176389-02FA-74AA-F981-31A9969CE35A}"/>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EEE0C0DA-9BB5-0BC4-0A91-81CFC70FA77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2" name="Gruppieren 1">
              <a:extLst>
                <a:ext uri="{FF2B5EF4-FFF2-40B4-BE49-F238E27FC236}">
                  <a16:creationId xmlns:a16="http://schemas.microsoft.com/office/drawing/2014/main" id="{0DBF742A-9BD3-B492-3338-870C8EDA3282}"/>
                </a:ext>
              </a:extLst>
            </p:cNvPr>
            <p:cNvGrpSpPr/>
            <p:nvPr/>
          </p:nvGrpSpPr>
          <p:grpSpPr>
            <a:xfrm>
              <a:off x="4379185" y="3272474"/>
              <a:ext cx="720000" cy="720000"/>
              <a:chOff x="-356480" y="4360321"/>
              <a:chExt cx="2641600" cy="2641600"/>
            </a:xfrm>
          </p:grpSpPr>
          <p:sp>
            <p:nvSpPr>
              <p:cNvPr id="4" name="Freihandform: Form 3">
                <a:extLst>
                  <a:ext uri="{FF2B5EF4-FFF2-40B4-BE49-F238E27FC236}">
                    <a16:creationId xmlns:a16="http://schemas.microsoft.com/office/drawing/2014/main" id="{B20F8A28-E2E3-2277-1CE1-163305AA251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A35A81DB-8FB2-1297-5B4C-AAD44A6A335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grpSp>
        <p:nvGrpSpPr>
          <p:cNvPr id="6" name="Gruppieren 5">
            <a:extLst>
              <a:ext uri="{FF2B5EF4-FFF2-40B4-BE49-F238E27FC236}">
                <a16:creationId xmlns:a16="http://schemas.microsoft.com/office/drawing/2014/main" id="{072D550E-05D1-A756-8F80-8B9F41E8B1A3}"/>
              </a:ext>
            </a:extLst>
          </p:cNvPr>
          <p:cNvGrpSpPr/>
          <p:nvPr/>
        </p:nvGrpSpPr>
        <p:grpSpPr>
          <a:xfrm>
            <a:off x="6888515" y="2624540"/>
            <a:ext cx="900000" cy="900000"/>
            <a:chOff x="4289185" y="3182474"/>
            <a:chExt cx="900000" cy="900000"/>
          </a:xfrm>
        </p:grpSpPr>
        <p:sp>
          <p:nvSpPr>
            <p:cNvPr id="7" name="Ellipse 6">
              <a:extLst>
                <a:ext uri="{FF2B5EF4-FFF2-40B4-BE49-F238E27FC236}">
                  <a16:creationId xmlns:a16="http://schemas.microsoft.com/office/drawing/2014/main" id="{DB45CD0D-9AB1-B5DF-0B33-E1F7E82050F3}"/>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Ellipse 7">
              <a:extLst>
                <a:ext uri="{FF2B5EF4-FFF2-40B4-BE49-F238E27FC236}">
                  <a16:creationId xmlns:a16="http://schemas.microsoft.com/office/drawing/2014/main" id="{743FB591-D8CC-9D44-0CB1-BD9DEF68B139}"/>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26" name="Gruppieren 25">
              <a:extLst>
                <a:ext uri="{FF2B5EF4-FFF2-40B4-BE49-F238E27FC236}">
                  <a16:creationId xmlns:a16="http://schemas.microsoft.com/office/drawing/2014/main" id="{4847F2C5-029E-E8AC-FBB5-66EC56C81BFE}"/>
                </a:ext>
              </a:extLst>
            </p:cNvPr>
            <p:cNvGrpSpPr/>
            <p:nvPr/>
          </p:nvGrpSpPr>
          <p:grpSpPr>
            <a:xfrm>
              <a:off x="4379185" y="3272474"/>
              <a:ext cx="720000" cy="720000"/>
              <a:chOff x="-356480" y="4360321"/>
              <a:chExt cx="2641600" cy="2641600"/>
            </a:xfrm>
          </p:grpSpPr>
          <p:sp>
            <p:nvSpPr>
              <p:cNvPr id="27" name="Freihandform: Form 26">
                <a:extLst>
                  <a:ext uri="{FF2B5EF4-FFF2-40B4-BE49-F238E27FC236}">
                    <a16:creationId xmlns:a16="http://schemas.microsoft.com/office/drawing/2014/main" id="{A70B108A-A028-2905-6DAF-DCCA7FA85C5F}"/>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8473D596-4F9C-DE02-CC5F-36C98FA3A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grpSp>
        <p:nvGrpSpPr>
          <p:cNvPr id="31" name="Gruppieren 30">
            <a:extLst>
              <a:ext uri="{FF2B5EF4-FFF2-40B4-BE49-F238E27FC236}">
                <a16:creationId xmlns:a16="http://schemas.microsoft.com/office/drawing/2014/main" id="{A65B2823-79D8-A311-B3A7-046DABE85CB8}"/>
              </a:ext>
            </a:extLst>
          </p:cNvPr>
          <p:cNvGrpSpPr/>
          <p:nvPr/>
        </p:nvGrpSpPr>
        <p:grpSpPr>
          <a:xfrm>
            <a:off x="4289185" y="3932957"/>
            <a:ext cx="900000" cy="900000"/>
            <a:chOff x="4289185" y="3182474"/>
            <a:chExt cx="900000" cy="900000"/>
          </a:xfrm>
        </p:grpSpPr>
        <p:sp>
          <p:nvSpPr>
            <p:cNvPr id="32" name="Ellipse 31">
              <a:extLst>
                <a:ext uri="{FF2B5EF4-FFF2-40B4-BE49-F238E27FC236}">
                  <a16:creationId xmlns:a16="http://schemas.microsoft.com/office/drawing/2014/main" id="{346CB052-D80F-5FCD-FC5F-394F71C8BD4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0D3AB460-ACAB-3F8C-79E4-00C5CD8B79B1}"/>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34" name="Gruppieren 33">
              <a:extLst>
                <a:ext uri="{FF2B5EF4-FFF2-40B4-BE49-F238E27FC236}">
                  <a16:creationId xmlns:a16="http://schemas.microsoft.com/office/drawing/2014/main" id="{5F988369-B8BF-E649-0157-2733FDA0B600}"/>
                </a:ext>
              </a:extLst>
            </p:cNvPr>
            <p:cNvGrpSpPr/>
            <p:nvPr/>
          </p:nvGrpSpPr>
          <p:grpSpPr>
            <a:xfrm>
              <a:off x="4379185" y="3272474"/>
              <a:ext cx="720000" cy="720000"/>
              <a:chOff x="-356480" y="4360321"/>
              <a:chExt cx="2641600" cy="2641600"/>
            </a:xfrm>
          </p:grpSpPr>
          <p:sp>
            <p:nvSpPr>
              <p:cNvPr id="35" name="Freihandform: Form 34">
                <a:extLst>
                  <a:ext uri="{FF2B5EF4-FFF2-40B4-BE49-F238E27FC236}">
                    <a16:creationId xmlns:a16="http://schemas.microsoft.com/office/drawing/2014/main" id="{58037F26-4C79-D879-61D3-C9C2FFE925E5}"/>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36" name="Freihandform: Form 35">
                <a:extLst>
                  <a:ext uri="{FF2B5EF4-FFF2-40B4-BE49-F238E27FC236}">
                    <a16:creationId xmlns:a16="http://schemas.microsoft.com/office/drawing/2014/main" id="{B9383E10-3610-2B1B-E470-E742B7E0565F}"/>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dirty="0"/>
              </a:p>
            </p:txBody>
          </p:sp>
        </p:grpSp>
      </p:grpSp>
      <p:grpSp>
        <p:nvGrpSpPr>
          <p:cNvPr id="40" name="Gruppieren 39">
            <a:extLst>
              <a:ext uri="{FF2B5EF4-FFF2-40B4-BE49-F238E27FC236}">
                <a16:creationId xmlns:a16="http://schemas.microsoft.com/office/drawing/2014/main" id="{9BEEFEC3-53F8-5D33-0BB5-01ABB3989890}"/>
              </a:ext>
            </a:extLst>
          </p:cNvPr>
          <p:cNvGrpSpPr/>
          <p:nvPr/>
        </p:nvGrpSpPr>
        <p:grpSpPr>
          <a:xfrm>
            <a:off x="7002815" y="3932957"/>
            <a:ext cx="900000" cy="900000"/>
            <a:chOff x="4289185" y="3182474"/>
            <a:chExt cx="900000" cy="900000"/>
          </a:xfrm>
        </p:grpSpPr>
        <p:sp>
          <p:nvSpPr>
            <p:cNvPr id="41" name="Ellipse 40">
              <a:extLst>
                <a:ext uri="{FF2B5EF4-FFF2-40B4-BE49-F238E27FC236}">
                  <a16:creationId xmlns:a16="http://schemas.microsoft.com/office/drawing/2014/main" id="{3D398D84-9F8A-6CCA-3133-699187359271}"/>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Ellipse 41">
              <a:extLst>
                <a:ext uri="{FF2B5EF4-FFF2-40B4-BE49-F238E27FC236}">
                  <a16:creationId xmlns:a16="http://schemas.microsoft.com/office/drawing/2014/main" id="{83E43D40-01A6-87FC-DA3B-704387A859AE}"/>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43" name="Gruppieren 42">
              <a:extLst>
                <a:ext uri="{FF2B5EF4-FFF2-40B4-BE49-F238E27FC236}">
                  <a16:creationId xmlns:a16="http://schemas.microsoft.com/office/drawing/2014/main" id="{FF0D6F53-E394-B33C-9018-0FCCFC2A259B}"/>
                </a:ext>
              </a:extLst>
            </p:cNvPr>
            <p:cNvGrpSpPr/>
            <p:nvPr/>
          </p:nvGrpSpPr>
          <p:grpSpPr>
            <a:xfrm>
              <a:off x="4379185" y="3272474"/>
              <a:ext cx="720000" cy="720000"/>
              <a:chOff x="-356480" y="4360321"/>
              <a:chExt cx="2641600" cy="2641600"/>
            </a:xfrm>
          </p:grpSpPr>
          <p:sp>
            <p:nvSpPr>
              <p:cNvPr id="44" name="Freihandform: Form 43">
                <a:extLst>
                  <a:ext uri="{FF2B5EF4-FFF2-40B4-BE49-F238E27FC236}">
                    <a16:creationId xmlns:a16="http://schemas.microsoft.com/office/drawing/2014/main" id="{5876AA25-74D7-18F9-BCEA-C5C44241F44C}"/>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45" name="Freihandform: Form 44">
                <a:extLst>
                  <a:ext uri="{FF2B5EF4-FFF2-40B4-BE49-F238E27FC236}">
                    <a16:creationId xmlns:a16="http://schemas.microsoft.com/office/drawing/2014/main" id="{745DC000-1166-311D-C87F-ADD9E1E9B33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grpSp>
        <p:nvGrpSpPr>
          <p:cNvPr id="48" name="Gruppieren 47">
            <a:extLst>
              <a:ext uri="{FF2B5EF4-FFF2-40B4-BE49-F238E27FC236}">
                <a16:creationId xmlns:a16="http://schemas.microsoft.com/office/drawing/2014/main" id="{5DE72BF1-3891-E219-11CE-F8D6CD238F8C}"/>
              </a:ext>
            </a:extLst>
          </p:cNvPr>
          <p:cNvGrpSpPr/>
          <p:nvPr/>
        </p:nvGrpSpPr>
        <p:grpSpPr>
          <a:xfrm>
            <a:off x="6372481" y="5101675"/>
            <a:ext cx="900000" cy="900000"/>
            <a:chOff x="4289185" y="3182474"/>
            <a:chExt cx="900000" cy="900000"/>
          </a:xfrm>
        </p:grpSpPr>
        <p:sp>
          <p:nvSpPr>
            <p:cNvPr id="49" name="Ellipse 48">
              <a:extLst>
                <a:ext uri="{FF2B5EF4-FFF2-40B4-BE49-F238E27FC236}">
                  <a16:creationId xmlns:a16="http://schemas.microsoft.com/office/drawing/2014/main" id="{D3B12E60-7480-84EC-C5B1-5526BC2F996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Ellipse 49">
              <a:extLst>
                <a:ext uri="{FF2B5EF4-FFF2-40B4-BE49-F238E27FC236}">
                  <a16:creationId xmlns:a16="http://schemas.microsoft.com/office/drawing/2014/main" id="{F4643FCC-7406-217F-919D-313BB8B6049C}"/>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1" name="Gruppieren 50">
              <a:extLst>
                <a:ext uri="{FF2B5EF4-FFF2-40B4-BE49-F238E27FC236}">
                  <a16:creationId xmlns:a16="http://schemas.microsoft.com/office/drawing/2014/main" id="{73A39641-01F7-437E-BDC5-B95FA4BD0E4A}"/>
                </a:ext>
              </a:extLst>
            </p:cNvPr>
            <p:cNvGrpSpPr/>
            <p:nvPr/>
          </p:nvGrpSpPr>
          <p:grpSpPr>
            <a:xfrm>
              <a:off x="4379185" y="3272474"/>
              <a:ext cx="720000" cy="720000"/>
              <a:chOff x="-356480" y="4360321"/>
              <a:chExt cx="2641600" cy="2641600"/>
            </a:xfrm>
          </p:grpSpPr>
          <p:sp>
            <p:nvSpPr>
              <p:cNvPr id="52" name="Freihandform: Form 51">
                <a:extLst>
                  <a:ext uri="{FF2B5EF4-FFF2-40B4-BE49-F238E27FC236}">
                    <a16:creationId xmlns:a16="http://schemas.microsoft.com/office/drawing/2014/main" id="{90E78B52-28AB-6DC6-B649-BDE4AF423274}"/>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53" name="Freihandform: Form 52">
                <a:extLst>
                  <a:ext uri="{FF2B5EF4-FFF2-40B4-BE49-F238E27FC236}">
                    <a16:creationId xmlns:a16="http://schemas.microsoft.com/office/drawing/2014/main" id="{D5127C70-B165-0341-14D2-DD9D94467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grpSp>
        <p:nvGrpSpPr>
          <p:cNvPr id="56" name="Gruppieren 55">
            <a:extLst>
              <a:ext uri="{FF2B5EF4-FFF2-40B4-BE49-F238E27FC236}">
                <a16:creationId xmlns:a16="http://schemas.microsoft.com/office/drawing/2014/main" id="{78CD0BAF-2C34-8C66-97C2-6E94FB631928}"/>
              </a:ext>
            </a:extLst>
          </p:cNvPr>
          <p:cNvGrpSpPr/>
          <p:nvPr/>
        </p:nvGrpSpPr>
        <p:grpSpPr>
          <a:xfrm>
            <a:off x="4919519" y="5101675"/>
            <a:ext cx="900000" cy="900000"/>
            <a:chOff x="4289185" y="3182474"/>
            <a:chExt cx="900000" cy="900000"/>
          </a:xfrm>
        </p:grpSpPr>
        <p:sp>
          <p:nvSpPr>
            <p:cNvPr id="57" name="Ellipse 56">
              <a:extLst>
                <a:ext uri="{FF2B5EF4-FFF2-40B4-BE49-F238E27FC236}">
                  <a16:creationId xmlns:a16="http://schemas.microsoft.com/office/drawing/2014/main" id="{454E73BF-1CF5-91D0-B4AB-B7575E1D425B}"/>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Ellipse 57">
              <a:extLst>
                <a:ext uri="{FF2B5EF4-FFF2-40B4-BE49-F238E27FC236}">
                  <a16:creationId xmlns:a16="http://schemas.microsoft.com/office/drawing/2014/main" id="{504496D9-3E12-1A5E-4F5E-7E98F98FEC54}"/>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9" name="Gruppieren 58">
              <a:extLst>
                <a:ext uri="{FF2B5EF4-FFF2-40B4-BE49-F238E27FC236}">
                  <a16:creationId xmlns:a16="http://schemas.microsoft.com/office/drawing/2014/main" id="{45148884-7463-E3F3-5EC5-B467A6047B60}"/>
                </a:ext>
              </a:extLst>
            </p:cNvPr>
            <p:cNvGrpSpPr/>
            <p:nvPr/>
          </p:nvGrpSpPr>
          <p:grpSpPr>
            <a:xfrm>
              <a:off x="4379185" y="3272474"/>
              <a:ext cx="720000" cy="720000"/>
              <a:chOff x="-356480" y="4360321"/>
              <a:chExt cx="2641600" cy="2641600"/>
            </a:xfrm>
          </p:grpSpPr>
          <p:sp>
            <p:nvSpPr>
              <p:cNvPr id="60" name="Freihandform: Form 59">
                <a:extLst>
                  <a:ext uri="{FF2B5EF4-FFF2-40B4-BE49-F238E27FC236}">
                    <a16:creationId xmlns:a16="http://schemas.microsoft.com/office/drawing/2014/main" id="{F1A4C781-F9F1-9EA2-B441-8173683EB2E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61" name="Freihandform: Form 60">
                <a:extLst>
                  <a:ext uri="{FF2B5EF4-FFF2-40B4-BE49-F238E27FC236}">
                    <a16:creationId xmlns:a16="http://schemas.microsoft.com/office/drawing/2014/main" id="{D410EA6C-37A2-8260-3565-FA4AA362DB95}"/>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spTree>
    <p:extLst>
      <p:ext uri="{BB962C8B-B14F-4D97-AF65-F5344CB8AC3E}">
        <p14:creationId xmlns:p14="http://schemas.microsoft.com/office/powerpoint/2010/main" val="1497072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3">
                                            <p:txEl>
                                              <p:pRg st="0" end="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9">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2">
                                            <p:txEl>
                                              <p:pRg st="0" end="0"/>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4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0">
                                            <p:txEl>
                                              <p:pRg st="0" end="0"/>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4">
                                            <p:txEl>
                                              <p:pRg st="0" end="0"/>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56"/>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48"/>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1">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build="p"/>
      <p:bldP spid="19" grpId="0" build="p"/>
      <p:bldP spid="20" grpId="0" build="p"/>
      <p:bldP spid="21" grpId="0" build="p"/>
      <p:bldP spid="22" grpId="0" build="p"/>
      <p:bldP spid="24"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p:cNvSpPr>
            <a:spLocks noGrp="1"/>
          </p:cNvSpPr>
          <p:nvPr>
            <p:ph type="body" sz="quarter" idx="10"/>
          </p:nvPr>
        </p:nvSpPr>
        <p:spPr/>
        <p:txBody>
          <a:bodyPr/>
          <a:lstStyle/>
          <a:p>
            <a:endParaRPr lang="de-DE"/>
          </a:p>
        </p:txBody>
      </p:sp>
      <p:sp>
        <p:nvSpPr>
          <p:cNvPr id="9" name="Textplatzhalter 8"/>
          <p:cNvSpPr>
            <a:spLocks noGrp="1"/>
          </p:cNvSpPr>
          <p:nvPr>
            <p:ph type="body" sz="quarter" idx="11"/>
          </p:nvPr>
        </p:nvSpPr>
        <p:spPr>
          <a:xfrm>
            <a:off x="556650" y="778589"/>
            <a:ext cx="9209813" cy="430887"/>
          </a:xfrm>
        </p:spPr>
        <p:txBody>
          <a:bodyPr/>
          <a:lstStyle/>
          <a:p>
            <a:r>
              <a:rPr lang="de-DE" dirty="0">
                <a:latin typeface="Segoe UI" panose="020B0502040204020203" pitchFamily="34" charset="0"/>
                <a:cs typeface="Segoe UI" panose="020B0502040204020203" pitchFamily="34" charset="0"/>
              </a:rPr>
              <a:t>Weitere Informationen Für </a:t>
            </a:r>
            <a:r>
              <a:rPr lang="de-DE" dirty="0" smtClean="0">
                <a:latin typeface="Segoe UI" panose="020B0502040204020203" pitchFamily="34" charset="0"/>
                <a:cs typeface="Segoe UI" panose="020B0502040204020203" pitchFamily="34" charset="0"/>
              </a:rPr>
              <a:t>Eltern</a:t>
            </a:r>
            <a:endParaRPr lang="de-DE" dirty="0" smtClean="0"/>
          </a:p>
        </p:txBody>
      </p:sp>
      <p:sp>
        <p:nvSpPr>
          <p:cNvPr id="10" name="Textplatzhalter 9"/>
          <p:cNvSpPr>
            <a:spLocks noGrp="1"/>
          </p:cNvSpPr>
          <p:nvPr>
            <p:ph type="body" sz="quarter" idx="13"/>
          </p:nvPr>
        </p:nvSpPr>
        <p:spPr/>
        <p:txBody>
          <a:bodyPr/>
          <a:lstStyle/>
          <a:p>
            <a:pPr marL="0" indent="0">
              <a:buClr>
                <a:schemeClr val="accent1"/>
              </a:buClr>
              <a:buNone/>
            </a:pPr>
            <a:r>
              <a:rPr lang="de-DE" dirty="0"/>
              <a:t>Im mebis Magazin finden Sie eine Vielzahl weiterer kostenfreier Informationsangebote für Eltern der BLM Stiftung Medienpädagogik Bayern, z. B. zu den Themenbereichen:</a:t>
            </a:r>
          </a:p>
          <a:p>
            <a:pPr>
              <a:buClr>
                <a:schemeClr val="accent1"/>
              </a:buClr>
            </a:pPr>
            <a:r>
              <a:rPr lang="de-DE" b="1" dirty="0">
                <a:solidFill>
                  <a:schemeClr val="accent1"/>
                </a:solidFill>
              </a:rPr>
              <a:t>Medien in der </a:t>
            </a:r>
            <a:r>
              <a:rPr lang="de-DE" b="1" dirty="0" smtClean="0">
                <a:solidFill>
                  <a:schemeClr val="accent1"/>
                </a:solidFill>
              </a:rPr>
              <a:t>Familie</a:t>
            </a:r>
          </a:p>
          <a:p>
            <a:pPr>
              <a:buClr>
                <a:schemeClr val="accent4"/>
              </a:buClr>
            </a:pPr>
            <a:r>
              <a:rPr lang="de-DE" b="1" dirty="0" err="1" smtClean="0">
                <a:solidFill>
                  <a:schemeClr val="accent4"/>
                </a:solidFill>
              </a:rPr>
              <a:t>Social</a:t>
            </a:r>
            <a:r>
              <a:rPr lang="de-DE" b="1" dirty="0" smtClean="0">
                <a:solidFill>
                  <a:schemeClr val="accent4"/>
                </a:solidFill>
              </a:rPr>
              <a:t> Media</a:t>
            </a:r>
            <a:endParaRPr lang="de-DE" b="1" dirty="0">
              <a:solidFill>
                <a:schemeClr val="accent4"/>
              </a:solidFill>
            </a:endParaRPr>
          </a:p>
          <a:p>
            <a:pPr>
              <a:buClr>
                <a:schemeClr val="accent5"/>
              </a:buClr>
            </a:pPr>
            <a:r>
              <a:rPr lang="de-DE" b="1" dirty="0">
                <a:solidFill>
                  <a:schemeClr val="accent5"/>
                </a:solidFill>
              </a:rPr>
              <a:t>Verletzendes Online-Handeln</a:t>
            </a:r>
          </a:p>
          <a:p>
            <a:pPr>
              <a:buClr>
                <a:schemeClr val="accent2"/>
              </a:buClr>
            </a:pPr>
            <a:r>
              <a:rPr lang="de-DE" b="1" dirty="0">
                <a:solidFill>
                  <a:schemeClr val="accent2"/>
                </a:solidFill>
              </a:rPr>
              <a:t>Jugendschutz und Sicherheitseinstellungen</a:t>
            </a:r>
          </a:p>
          <a:p>
            <a:pPr>
              <a:buClr>
                <a:schemeClr val="accent6"/>
              </a:buClr>
            </a:pPr>
            <a:r>
              <a:rPr lang="de-DE" b="1" dirty="0" smtClean="0">
                <a:solidFill>
                  <a:schemeClr val="accent6"/>
                </a:solidFill>
              </a:rPr>
              <a:t>Medien </a:t>
            </a:r>
            <a:r>
              <a:rPr lang="de-DE" b="1" dirty="0">
                <a:solidFill>
                  <a:schemeClr val="accent6"/>
                </a:solidFill>
              </a:rPr>
              <a:t>und Gesundheit</a:t>
            </a:r>
          </a:p>
          <a:p>
            <a:pPr marL="0" indent="0">
              <a:buClr>
                <a:schemeClr val="accent1"/>
              </a:buClr>
              <a:buNone/>
            </a:pPr>
            <a:endParaRPr lang="de-DE" dirty="0"/>
          </a:p>
          <a:p>
            <a:pPr marL="0" indent="0">
              <a:buNone/>
            </a:pPr>
            <a:r>
              <a:rPr lang="de-DE" dirty="0">
                <a:hlinkClick r:id="rId3"/>
              </a:rPr>
              <a:t>https://mebis.bycs.de/beitrag/angebote-fuer-erziehungsberechtigte</a:t>
            </a:r>
            <a:endParaRPr lang="de-DE" dirty="0"/>
          </a:p>
          <a:p>
            <a:pPr marL="0" indent="0">
              <a:buClr>
                <a:schemeClr val="accent1"/>
              </a:buClr>
              <a:buNone/>
            </a:pPr>
            <a:endParaRPr lang="de-DE" dirty="0"/>
          </a:p>
          <a:p>
            <a:pPr marL="0" indent="0">
              <a:buClr>
                <a:schemeClr val="accent1"/>
              </a:buClr>
              <a:buNone/>
            </a:pPr>
            <a:endParaRPr lang="de-DE" dirty="0"/>
          </a:p>
          <a:p>
            <a:endParaRPr lang="de-DE" dirty="0"/>
          </a:p>
          <a:p>
            <a:endParaRPr lang="de-DE" dirty="0"/>
          </a:p>
          <a:p>
            <a:endParaRPr lang="de-DE" dirty="0"/>
          </a:p>
        </p:txBody>
      </p:sp>
      <p:sp>
        <p:nvSpPr>
          <p:cNvPr id="7" name="Foliennummernplatzhalter 6"/>
          <p:cNvSpPr>
            <a:spLocks noGrp="1"/>
          </p:cNvSpPr>
          <p:nvPr>
            <p:ph type="sldNum" sz="quarter" idx="4"/>
          </p:nvPr>
        </p:nvSpPr>
        <p:spPr/>
        <p:txBody>
          <a:bodyPr/>
          <a:lstStyle/>
          <a:p>
            <a:fld id="{B3D266E1-CF7D-47E8-B8E6-FE2361DFB2DF}" type="slidenum">
              <a:rPr lang="de-DE" smtClean="0"/>
              <a:pPr/>
              <a:t>12</a:t>
            </a:fld>
            <a:endParaRPr lang="de-DE" dirty="0"/>
          </a:p>
        </p:txBody>
      </p:sp>
      <p:grpSp>
        <p:nvGrpSpPr>
          <p:cNvPr id="11" name="Grafik 13">
            <a:extLst>
              <a:ext uri="{FF2B5EF4-FFF2-40B4-BE49-F238E27FC236}">
                <a16:creationId xmlns:a16="http://schemas.microsoft.com/office/drawing/2014/main" id="{6552540A-5992-CF80-3696-D21A33978998}"/>
              </a:ext>
            </a:extLst>
          </p:cNvPr>
          <p:cNvGrpSpPr/>
          <p:nvPr/>
        </p:nvGrpSpPr>
        <p:grpSpPr>
          <a:xfrm>
            <a:off x="10950177" y="410025"/>
            <a:ext cx="465152" cy="539923"/>
            <a:chOff x="10950380" y="410026"/>
            <a:chExt cx="465152" cy="539923"/>
          </a:xfrm>
        </p:grpSpPr>
        <p:sp>
          <p:nvSpPr>
            <p:cNvPr id="12" name="Freihandform: Form 15">
              <a:extLst>
                <a:ext uri="{FF2B5EF4-FFF2-40B4-BE49-F238E27FC236}">
                  <a16:creationId xmlns:a16="http://schemas.microsoft.com/office/drawing/2014/main" id="{B0179DD5-A80E-8B81-83B6-B2DA9F5F93DC}"/>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3"/>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3" name="Freihandform: Form 16">
              <a:extLst>
                <a:ext uri="{FF2B5EF4-FFF2-40B4-BE49-F238E27FC236}">
                  <a16:creationId xmlns:a16="http://schemas.microsoft.com/office/drawing/2014/main" id="{F18B5DED-2EC7-4BD3-D0CE-3A31E7DFF026}"/>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4" name="Freihandform: Form 17">
              <a:extLst>
                <a:ext uri="{FF2B5EF4-FFF2-40B4-BE49-F238E27FC236}">
                  <a16:creationId xmlns:a16="http://schemas.microsoft.com/office/drawing/2014/main" id="{4ACF60AF-7D8F-633F-8A1B-EF9F797A7921}"/>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5" name="Freihandform: Form 18">
              <a:extLst>
                <a:ext uri="{FF2B5EF4-FFF2-40B4-BE49-F238E27FC236}">
                  <a16:creationId xmlns:a16="http://schemas.microsoft.com/office/drawing/2014/main" id="{1B632A95-9F44-4DD2-7DEC-99D06DCFFFA7}"/>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sp>
        <p:nvSpPr>
          <p:cNvPr id="16" name="Abgerundetes Rechteck 15"/>
          <p:cNvSpPr/>
          <p:nvPr/>
        </p:nvSpPr>
        <p:spPr>
          <a:xfrm>
            <a:off x="8795340" y="2500404"/>
            <a:ext cx="2393360" cy="2349500"/>
          </a:xfrm>
          <a:prstGeom prst="roundRect">
            <a:avLst/>
          </a:prstGeom>
          <a:solidFill>
            <a:schemeClr val="accent3">
              <a:alpha val="30196"/>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7" name="Grafik 1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96789" y="2779923"/>
            <a:ext cx="1790462" cy="1790462"/>
          </a:xfrm>
          <a:prstGeom prst="rect">
            <a:avLst/>
          </a:prstGeom>
          <a:solidFill>
            <a:schemeClr val="accent2">
              <a:alpha val="30196"/>
            </a:schemeClr>
          </a:solidFill>
          <a:ln>
            <a:solidFill>
              <a:schemeClr val="accent3"/>
            </a:solidFill>
          </a:ln>
        </p:spPr>
      </p:pic>
    </p:spTree>
    <p:extLst>
      <p:ext uri="{BB962C8B-B14F-4D97-AF65-F5344CB8AC3E}">
        <p14:creationId xmlns:p14="http://schemas.microsoft.com/office/powerpoint/2010/main" val="368348104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p:cNvSpPr>
            <a:spLocks noGrp="1"/>
          </p:cNvSpPr>
          <p:nvPr>
            <p:ph type="body" sz="quarter" idx="10"/>
          </p:nvPr>
        </p:nvSpPr>
        <p:spPr/>
        <p:txBody>
          <a:bodyPr/>
          <a:lstStyle/>
          <a:p>
            <a:endParaRPr lang="de-DE"/>
          </a:p>
        </p:txBody>
      </p:sp>
      <p:sp>
        <p:nvSpPr>
          <p:cNvPr id="9" name="Textplatzhalter 8"/>
          <p:cNvSpPr>
            <a:spLocks noGrp="1"/>
          </p:cNvSpPr>
          <p:nvPr>
            <p:ph type="body" sz="quarter" idx="11"/>
          </p:nvPr>
        </p:nvSpPr>
        <p:spPr/>
        <p:txBody>
          <a:bodyPr/>
          <a:lstStyle/>
          <a:p>
            <a:r>
              <a:rPr lang="de-DE" dirty="0" smtClean="0"/>
              <a:t>Impressum</a:t>
            </a:r>
            <a:endParaRPr lang="de-DE" dirty="0"/>
          </a:p>
        </p:txBody>
      </p:sp>
      <p:sp>
        <p:nvSpPr>
          <p:cNvPr id="10" name="Textplatzhalter 9"/>
          <p:cNvSpPr>
            <a:spLocks noGrp="1"/>
          </p:cNvSpPr>
          <p:nvPr>
            <p:ph type="body" sz="quarter" idx="13"/>
          </p:nvPr>
        </p:nvSpPr>
        <p:spPr/>
        <p:txBody>
          <a:bodyPr/>
          <a:lstStyle/>
          <a:p>
            <a:pPr marL="0" indent="0">
              <a:buNone/>
            </a:pPr>
            <a:r>
              <a:rPr lang="de-DE" dirty="0"/>
              <a:t>Die vorliegende Präsentationsvorlage kann von der jeweiligen Lehrkraft textlich und grafisch individuell angepasst werden. </a:t>
            </a:r>
          </a:p>
          <a:p>
            <a:pPr marL="0" indent="0">
              <a:buNone/>
            </a:pPr>
            <a:endParaRPr lang="de-DE" b="1" dirty="0"/>
          </a:p>
          <a:p>
            <a:pPr marL="0" indent="0">
              <a:buNone/>
            </a:pPr>
            <a:r>
              <a:rPr lang="de-DE" b="1" dirty="0"/>
              <a:t>Konzeption und Redaktion der Präsentation: </a:t>
            </a:r>
            <a:r>
              <a:rPr lang="de-DE" dirty="0"/>
              <a:t>BLM Stiftung Medienpädagogik Bayern </a:t>
            </a:r>
          </a:p>
          <a:p>
            <a:pPr marL="0" indent="0">
              <a:buNone/>
            </a:pPr>
            <a:r>
              <a:rPr lang="de-DE" b="1" dirty="0"/>
              <a:t>Satz und Layout der Präsentation: </a:t>
            </a:r>
            <a:r>
              <a:rPr lang="en-US" dirty="0" err="1"/>
              <a:t>Erdt</a:t>
            </a:r>
            <a:r>
              <a:rPr lang="en-US" dirty="0"/>
              <a:t> </a:t>
            </a:r>
            <a:r>
              <a:rPr lang="en-US" dirty="0" err="1"/>
              <a:t>ArtWorks</a:t>
            </a:r>
            <a:r>
              <a:rPr lang="en-US" dirty="0"/>
              <a:t> GmbH &amp; Co. KG</a:t>
            </a:r>
            <a:r>
              <a:rPr lang="de-DE" dirty="0"/>
              <a:t> </a:t>
            </a:r>
          </a:p>
          <a:p>
            <a:pPr marL="0" indent="0">
              <a:buNone/>
            </a:pPr>
            <a:r>
              <a:rPr lang="de-DE" b="1" dirty="0"/>
              <a:t>Bildnachweise: </a:t>
            </a:r>
            <a:r>
              <a:rPr lang="de-DE" dirty="0"/>
              <a:t>Peter Weber Grafikdesign</a:t>
            </a:r>
          </a:p>
          <a:p>
            <a:pPr marL="0" indent="0">
              <a:buNone/>
            </a:pPr>
            <a:r>
              <a:rPr lang="de-DE" dirty="0"/>
              <a:t>München, 2024</a:t>
            </a:r>
          </a:p>
          <a:p>
            <a:pPr marL="0" indent="0">
              <a:buNone/>
            </a:pPr>
            <a:endParaRPr lang="de-DE" dirty="0"/>
          </a:p>
          <a:p>
            <a:pPr marL="0" indent="0">
              <a:buNone/>
            </a:pPr>
            <a:r>
              <a:rPr lang="de-DE" dirty="0"/>
              <a:t>Entwicklung der Materialien im Rahmen der „Digitalen Schule der Zukunft“ </a:t>
            </a:r>
            <a:br>
              <a:rPr lang="de-DE" dirty="0"/>
            </a:br>
            <a:r>
              <a:rPr lang="de-DE" dirty="0"/>
              <a:t>und gefördert durch das Bayerische Staatsministerium für Unterricht und </a:t>
            </a:r>
            <a:r>
              <a:rPr lang="de-DE" dirty="0" smtClean="0"/>
              <a:t>Kultus. </a:t>
            </a:r>
            <a:endParaRPr lang="de-DE" dirty="0"/>
          </a:p>
          <a:p>
            <a:pPr marL="0" indent="0">
              <a:buClr>
                <a:schemeClr val="accent1"/>
              </a:buClr>
              <a:buNone/>
            </a:pPr>
            <a:endParaRPr lang="de-DE" dirty="0"/>
          </a:p>
          <a:p>
            <a:endParaRPr lang="de-DE" dirty="0"/>
          </a:p>
          <a:p>
            <a:endParaRPr lang="de-DE" dirty="0"/>
          </a:p>
          <a:p>
            <a:endParaRPr lang="de-DE" dirty="0"/>
          </a:p>
        </p:txBody>
      </p:sp>
      <p:sp>
        <p:nvSpPr>
          <p:cNvPr id="7" name="Foliennummernplatzhalter 6"/>
          <p:cNvSpPr>
            <a:spLocks noGrp="1"/>
          </p:cNvSpPr>
          <p:nvPr>
            <p:ph type="sldNum" sz="quarter" idx="4"/>
          </p:nvPr>
        </p:nvSpPr>
        <p:spPr/>
        <p:txBody>
          <a:bodyPr/>
          <a:lstStyle/>
          <a:p>
            <a:fld id="{B3D266E1-CF7D-47E8-B8E6-FE2361DFB2DF}" type="slidenum">
              <a:rPr lang="de-DE" smtClean="0"/>
              <a:pPr/>
              <a:t>13</a:t>
            </a:fld>
            <a:endParaRPr lang="de-DE" dirty="0"/>
          </a:p>
        </p:txBody>
      </p:sp>
      <p:grpSp>
        <p:nvGrpSpPr>
          <p:cNvPr id="11" name="Grafik 13">
            <a:extLst>
              <a:ext uri="{FF2B5EF4-FFF2-40B4-BE49-F238E27FC236}">
                <a16:creationId xmlns:a16="http://schemas.microsoft.com/office/drawing/2014/main" id="{6552540A-5992-CF80-3696-D21A33978998}"/>
              </a:ext>
            </a:extLst>
          </p:cNvPr>
          <p:cNvGrpSpPr/>
          <p:nvPr/>
        </p:nvGrpSpPr>
        <p:grpSpPr>
          <a:xfrm>
            <a:off x="10950177" y="410025"/>
            <a:ext cx="465152" cy="539923"/>
            <a:chOff x="10950380" y="410026"/>
            <a:chExt cx="465152" cy="539923"/>
          </a:xfrm>
        </p:grpSpPr>
        <p:sp>
          <p:nvSpPr>
            <p:cNvPr id="12" name="Freihandform: Form 15">
              <a:extLst>
                <a:ext uri="{FF2B5EF4-FFF2-40B4-BE49-F238E27FC236}">
                  <a16:creationId xmlns:a16="http://schemas.microsoft.com/office/drawing/2014/main" id="{B0179DD5-A80E-8B81-83B6-B2DA9F5F93DC}"/>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3"/>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3" name="Freihandform: Form 16">
              <a:extLst>
                <a:ext uri="{FF2B5EF4-FFF2-40B4-BE49-F238E27FC236}">
                  <a16:creationId xmlns:a16="http://schemas.microsoft.com/office/drawing/2014/main" id="{F18B5DED-2EC7-4BD3-D0CE-3A31E7DFF026}"/>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4" name="Freihandform: Form 17">
              <a:extLst>
                <a:ext uri="{FF2B5EF4-FFF2-40B4-BE49-F238E27FC236}">
                  <a16:creationId xmlns:a16="http://schemas.microsoft.com/office/drawing/2014/main" id="{4ACF60AF-7D8F-633F-8A1B-EF9F797A7921}"/>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5" name="Freihandform: Form 18">
              <a:extLst>
                <a:ext uri="{FF2B5EF4-FFF2-40B4-BE49-F238E27FC236}">
                  <a16:creationId xmlns:a16="http://schemas.microsoft.com/office/drawing/2014/main" id="{1B632A95-9F44-4DD2-7DEC-99D06DCFFFA7}"/>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pic>
        <p:nvPicPr>
          <p:cNvPr id="16" name="Grafik 15"/>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765848" y="3368232"/>
            <a:ext cx="2099386" cy="741600"/>
          </a:xfrm>
          <a:prstGeom prst="rect">
            <a:avLst/>
          </a:prstGeom>
        </p:spPr>
      </p:pic>
      <p:pic>
        <p:nvPicPr>
          <p:cNvPr id="17" name="Grafik 16"/>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765848" y="5147428"/>
            <a:ext cx="2068725" cy="742416"/>
          </a:xfrm>
          <a:prstGeom prst="rect">
            <a:avLst/>
          </a:prstGeom>
        </p:spPr>
      </p:pic>
    </p:spTree>
    <p:extLst>
      <p:ext uri="{BB962C8B-B14F-4D97-AF65-F5344CB8AC3E}">
        <p14:creationId xmlns:p14="http://schemas.microsoft.com/office/powerpoint/2010/main" val="16473016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E35C386F-C469-850C-9725-BEAF0B09AD3F}"/>
              </a:ext>
            </a:extLst>
          </p:cNvPr>
          <p:cNvSpPr>
            <a:spLocks noGrp="1"/>
          </p:cNvSpPr>
          <p:nvPr>
            <p:ph type="body" sz="quarter" idx="10"/>
          </p:nvPr>
        </p:nvSpPr>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8" name="Textplatzhalter 7">
            <a:extLst>
              <a:ext uri="{FF2B5EF4-FFF2-40B4-BE49-F238E27FC236}">
                <a16:creationId xmlns:a16="http://schemas.microsoft.com/office/drawing/2014/main" id="{CC70DBE8-4827-30E9-45B6-3523BAD584F9}"/>
              </a:ext>
            </a:extLst>
          </p:cNvPr>
          <p:cNvSpPr>
            <a:spLocks noGrp="1"/>
          </p:cNvSpPr>
          <p:nvPr>
            <p:ph type="body" sz="quarter" idx="11"/>
          </p:nvPr>
        </p:nvSpPr>
        <p:spPr/>
        <p:txBody>
          <a:bodyPr/>
          <a:lstStyle/>
          <a:p>
            <a:r>
              <a:rPr lang="de-DE" sz="2800" b="1" spc="100" dirty="0">
                <a:latin typeface="Segoe UI" panose="020B0502040204020203" pitchFamily="34" charset="0"/>
                <a:cs typeface="Segoe UI" panose="020B0502040204020203" pitchFamily="34" charset="0"/>
              </a:rPr>
              <a:t>LEERE SEITE FÜR INPUT</a:t>
            </a:r>
          </a:p>
        </p:txBody>
      </p:sp>
      <p:sp>
        <p:nvSpPr>
          <p:cNvPr id="3" name="Foliennummernplatzhalter 5">
            <a:extLst>
              <a:ext uri="{FF2B5EF4-FFF2-40B4-BE49-F238E27FC236}">
                <a16:creationId xmlns:a16="http://schemas.microsoft.com/office/drawing/2014/main" id="{49C064EA-25C9-7C94-267A-0F37D7EFA8F4}"/>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14</a:t>
            </a:fld>
            <a:endParaRPr lang="de-DE" dirty="0"/>
          </a:p>
        </p:txBody>
      </p:sp>
      <p:grpSp>
        <p:nvGrpSpPr>
          <p:cNvPr id="2" name="Grafik 13">
            <a:extLst>
              <a:ext uri="{FF2B5EF4-FFF2-40B4-BE49-F238E27FC236}">
                <a16:creationId xmlns:a16="http://schemas.microsoft.com/office/drawing/2014/main" id="{A610E2C6-EC3D-CF13-47D7-CE1C1CBF58BD}"/>
              </a:ext>
            </a:extLst>
          </p:cNvPr>
          <p:cNvGrpSpPr/>
          <p:nvPr/>
        </p:nvGrpSpPr>
        <p:grpSpPr>
          <a:xfrm>
            <a:off x="10950177" y="410025"/>
            <a:ext cx="465152" cy="539923"/>
            <a:chOff x="10950380" y="410026"/>
            <a:chExt cx="465152" cy="539923"/>
          </a:xfrm>
        </p:grpSpPr>
        <p:sp>
          <p:nvSpPr>
            <p:cNvPr id="4" name="Freihandform: Form 3">
              <a:extLst>
                <a:ext uri="{FF2B5EF4-FFF2-40B4-BE49-F238E27FC236}">
                  <a16:creationId xmlns:a16="http://schemas.microsoft.com/office/drawing/2014/main" id="{A7310505-472E-EBB9-A28D-7D73212346E4}"/>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3"/>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5" name="Freihandform: Form 4">
              <a:extLst>
                <a:ext uri="{FF2B5EF4-FFF2-40B4-BE49-F238E27FC236}">
                  <a16:creationId xmlns:a16="http://schemas.microsoft.com/office/drawing/2014/main" id="{532ECDDF-2362-5E5A-25D6-2B9B1C66E974}"/>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6" name="Freihandform: Form 5">
              <a:extLst>
                <a:ext uri="{FF2B5EF4-FFF2-40B4-BE49-F238E27FC236}">
                  <a16:creationId xmlns:a16="http://schemas.microsoft.com/office/drawing/2014/main" id="{F18CFBF8-05C3-6993-94DE-2CBDE0D45144}"/>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0" name="Freihandform: Form 9">
              <a:extLst>
                <a:ext uri="{FF2B5EF4-FFF2-40B4-BE49-F238E27FC236}">
                  <a16:creationId xmlns:a16="http://schemas.microsoft.com/office/drawing/2014/main" id="{81AFCC31-08BE-C541-CFE1-F880F5EECAC1}"/>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2307259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Inhaltsplatzhalter 7">
            <a:extLst>
              <a:ext uri="{FF2B5EF4-FFF2-40B4-BE49-F238E27FC236}">
                <a16:creationId xmlns:a16="http://schemas.microsoft.com/office/drawing/2014/main" id="{0FACFB30-1959-8DCE-7309-6FC7507593F2}"/>
              </a:ext>
            </a:extLst>
          </p:cNvPr>
          <p:cNvSpPr>
            <a:spLocks noGrp="1" noRot="1" noMove="1" noResize="1" noEditPoints="1" noAdjustHandles="1" noChangeArrowheads="1" noChangeShapeType="1"/>
          </p:cNvSpPr>
          <p:nvPr>
            <p:ph sz="quarter" idx="11"/>
          </p:nvPr>
        </p:nvSpPr>
        <p:spPr/>
        <p:txBody>
          <a:bodyPr/>
          <a:lstStyle/>
          <a:p>
            <a:endParaRPr lang="de-DE" dirty="0"/>
          </a:p>
        </p:txBody>
      </p:sp>
      <p:sp>
        <p:nvSpPr>
          <p:cNvPr id="10" name="Textplatzhalter 9">
            <a:extLst>
              <a:ext uri="{FF2B5EF4-FFF2-40B4-BE49-F238E27FC236}">
                <a16:creationId xmlns:a16="http://schemas.microsoft.com/office/drawing/2014/main" id="{730B6E11-14E0-4862-509E-5F1D2DDE8C6E}"/>
              </a:ext>
            </a:extLst>
          </p:cNvPr>
          <p:cNvSpPr>
            <a:spLocks noGrp="1" noRot="1" noMove="1" noResize="1" noEditPoints="1" noAdjustHandles="1" noChangeArrowheads="1" noChangeShapeType="1"/>
          </p:cNvSpPr>
          <p:nvPr>
            <p:ph type="body" sz="quarter" idx="13"/>
          </p:nvPr>
        </p:nvSpPr>
        <p:spPr/>
        <p:txBody>
          <a:bodyPr/>
          <a:lstStyle/>
          <a:p>
            <a:endParaRPr lang="de-DE" dirty="0"/>
          </a:p>
        </p:txBody>
      </p:sp>
      <p:sp>
        <p:nvSpPr>
          <p:cNvPr id="9" name="Textplatzhalter 8">
            <a:extLst>
              <a:ext uri="{FF2B5EF4-FFF2-40B4-BE49-F238E27FC236}">
                <a16:creationId xmlns:a16="http://schemas.microsoft.com/office/drawing/2014/main" id="{2211AA3C-E3AD-E505-27AF-86BB6349AD56}"/>
              </a:ext>
            </a:extLst>
          </p:cNvPr>
          <p:cNvSpPr>
            <a:spLocks noGrp="1" noRot="1" noMove="1" noResize="1" noEditPoints="1" noAdjustHandles="1" noChangeArrowheads="1" noChangeShapeType="1"/>
          </p:cNvSpPr>
          <p:nvPr>
            <p:ph type="body" sz="quarter" idx="12"/>
          </p:nvPr>
        </p:nvSpPr>
        <p:spPr/>
        <p:txBody>
          <a:bodyPr/>
          <a:lstStyle/>
          <a:p>
            <a:endParaRPr lang="de-DE" dirty="0"/>
          </a:p>
        </p:txBody>
      </p:sp>
      <p:sp>
        <p:nvSpPr>
          <p:cNvPr id="7" name="Textplatzhalter 6">
            <a:extLst>
              <a:ext uri="{FF2B5EF4-FFF2-40B4-BE49-F238E27FC236}">
                <a16:creationId xmlns:a16="http://schemas.microsoft.com/office/drawing/2014/main" id="{9BFB8A08-C38B-0A83-95D9-58BCD10E9CFA}"/>
              </a:ext>
            </a:extLst>
          </p:cNvPr>
          <p:cNvSpPr>
            <a:spLocks noGrp="1"/>
          </p:cNvSpPr>
          <p:nvPr>
            <p:ph type="body" sz="quarter" idx="10"/>
          </p:nvPr>
        </p:nvSpPr>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11" name="Textplatzhalter 10">
            <a:extLst>
              <a:ext uri="{FF2B5EF4-FFF2-40B4-BE49-F238E27FC236}">
                <a16:creationId xmlns:a16="http://schemas.microsoft.com/office/drawing/2014/main" id="{838CD12B-D741-1487-F710-753EA4CAEBDE}"/>
              </a:ext>
            </a:extLst>
          </p:cNvPr>
          <p:cNvSpPr>
            <a:spLocks noGrp="1"/>
          </p:cNvSpPr>
          <p:nvPr>
            <p:ph type="body" sz="quarter" idx="14"/>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EINSTIEG INS THEMA </a:t>
            </a:r>
          </a:p>
        </p:txBody>
      </p:sp>
      <p:pic>
        <p:nvPicPr>
          <p:cNvPr id="12" name="Grafik 11">
            <a:extLst>
              <a:ext uri="{FF2B5EF4-FFF2-40B4-BE49-F238E27FC236}">
                <a16:creationId xmlns:a16="http://schemas.microsoft.com/office/drawing/2014/main" id="{2C4ACC23-EC0E-9D4E-2029-46ECFF91F623}"/>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0929388" y="424079"/>
            <a:ext cx="540000" cy="518704"/>
          </a:xfrm>
          <a:prstGeom prst="rect">
            <a:avLst/>
          </a:prstGeom>
        </p:spPr>
      </p:pic>
      <p:sp>
        <p:nvSpPr>
          <p:cNvPr id="2" name="Foliennummernplatzhalter 5">
            <a:extLst>
              <a:ext uri="{FF2B5EF4-FFF2-40B4-BE49-F238E27FC236}">
                <a16:creationId xmlns:a16="http://schemas.microsoft.com/office/drawing/2014/main" id="{C00B7DF2-D056-D102-0B30-40F6C43A0F52}"/>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2"/>
                </a:solidFill>
              </a:rPr>
              <a:pPr/>
              <a:t>15</a:t>
            </a:fld>
            <a:endParaRPr lang="de-DE" dirty="0">
              <a:solidFill>
                <a:schemeClr val="accent2"/>
              </a:solidFill>
            </a:endParaRPr>
          </a:p>
        </p:txBody>
      </p:sp>
    </p:spTree>
    <p:extLst>
      <p:ext uri="{BB962C8B-B14F-4D97-AF65-F5344CB8AC3E}">
        <p14:creationId xmlns:p14="http://schemas.microsoft.com/office/powerpoint/2010/main" val="1142130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6576C7B1-2310-3692-9758-A727246B8005}"/>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8" name="Textplatzhalter 7">
            <a:extLst>
              <a:ext uri="{FF2B5EF4-FFF2-40B4-BE49-F238E27FC236}">
                <a16:creationId xmlns:a16="http://schemas.microsoft.com/office/drawing/2014/main" id="{03B012D8-2CF6-1414-EA37-BDC62C0B01A6}"/>
              </a:ext>
            </a:extLst>
          </p:cNvPr>
          <p:cNvSpPr>
            <a:spLocks noGrp="1"/>
          </p:cNvSpPr>
          <p:nvPr>
            <p:ph type="body" sz="quarter" idx="11"/>
          </p:nvPr>
        </p:nvSpPr>
        <p:spPr/>
        <p:txBody>
          <a:bodyPr/>
          <a:lstStyle/>
          <a:p>
            <a:r>
              <a:rPr lang="de-DE" sz="2800" b="1" spc="100" dirty="0">
                <a:latin typeface="Segoe UI" panose="020B0502040204020203" pitchFamily="34" charset="0"/>
                <a:cs typeface="Segoe UI" panose="020B0502040204020203" pitchFamily="34" charset="0"/>
              </a:rPr>
              <a:t>ERFAHRUNGSAUSTAUSCH</a:t>
            </a:r>
          </a:p>
        </p:txBody>
      </p:sp>
      <p:sp>
        <p:nvSpPr>
          <p:cNvPr id="9" name="Textplatzhalter 8">
            <a:extLst>
              <a:ext uri="{FF2B5EF4-FFF2-40B4-BE49-F238E27FC236}">
                <a16:creationId xmlns:a16="http://schemas.microsoft.com/office/drawing/2014/main" id="{BE6FAFA0-AA74-4BD2-0C7B-5421AB133FA2}"/>
              </a:ext>
            </a:extLst>
          </p:cNvPr>
          <p:cNvSpPr>
            <a:spLocks noGrp="1" noRot="1" noMove="1" noResize="1" noEditPoints="1" noAdjustHandles="1" noChangeArrowheads="1" noChangeShapeType="1"/>
          </p:cNvSpPr>
          <p:nvPr>
            <p:ph type="body" sz="quarter" idx="13"/>
          </p:nvPr>
        </p:nvSpPr>
        <p:spPr/>
        <p:txBody>
          <a:bodyPr/>
          <a:lstStyle/>
          <a:p>
            <a:pPr marL="269875" indent="-269875">
              <a:lnSpc>
                <a:spcPct val="110000"/>
              </a:lnSpc>
              <a:spcBef>
                <a:spcPts val="1500"/>
              </a:spcBef>
              <a:buFont typeface="Arial" panose="020B0604020202020204" pitchFamily="34" charset="0"/>
              <a:buChar char="•"/>
            </a:pP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0" name="Textplatzhalter 9">
            <a:extLst>
              <a:ext uri="{FF2B5EF4-FFF2-40B4-BE49-F238E27FC236}">
                <a16:creationId xmlns:a16="http://schemas.microsoft.com/office/drawing/2014/main" id="{A3FAC56B-C009-919F-1E06-BA7841CAF37A}"/>
              </a:ext>
            </a:extLst>
          </p:cNvPr>
          <p:cNvSpPr>
            <a:spLocks noGrp="1" noRot="1" noMove="1" noResize="1" noEditPoints="1" noAdjustHandles="1" noChangeArrowheads="1" noChangeShapeType="1"/>
          </p:cNvSpPr>
          <p:nvPr>
            <p:ph type="body" sz="quarter" idx="14"/>
          </p:nvPr>
        </p:nvSpPr>
        <p:spPr/>
        <p:txBody>
          <a:bodyPr/>
          <a:lstStyle/>
          <a:p>
            <a:endParaRPr lang="de-DE" dirty="0"/>
          </a:p>
        </p:txBody>
      </p:sp>
      <p:sp>
        <p:nvSpPr>
          <p:cNvPr id="11" name="Textplatzhalter 10">
            <a:extLst>
              <a:ext uri="{FF2B5EF4-FFF2-40B4-BE49-F238E27FC236}">
                <a16:creationId xmlns:a16="http://schemas.microsoft.com/office/drawing/2014/main" id="{7048BE34-7921-1DDD-E023-0C5A92C12AD7}"/>
              </a:ext>
            </a:extLst>
          </p:cNvPr>
          <p:cNvSpPr>
            <a:spLocks noGrp="1" noRot="1" noMove="1" noResize="1" noEditPoints="1" noAdjustHandles="1" noChangeArrowheads="1" noChangeShapeType="1"/>
          </p:cNvSpPr>
          <p:nvPr>
            <p:ph type="body" sz="quarter" idx="15"/>
          </p:nvPr>
        </p:nvSpPr>
        <p:spPr/>
        <p:txBody>
          <a:bodyPr/>
          <a:lstStyle/>
          <a:p>
            <a:endParaRPr lang="de-DE" dirty="0"/>
          </a:p>
        </p:txBody>
      </p:sp>
      <p:pic>
        <p:nvPicPr>
          <p:cNvPr id="12" name="Grafik 11">
            <a:extLst>
              <a:ext uri="{FF2B5EF4-FFF2-40B4-BE49-F238E27FC236}">
                <a16:creationId xmlns:a16="http://schemas.microsoft.com/office/drawing/2014/main" id="{05E1FA25-1004-09C5-E0F8-A24EBC458D84}"/>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0929388" y="413431"/>
            <a:ext cx="540000" cy="540000"/>
          </a:xfrm>
          <a:prstGeom prst="rect">
            <a:avLst/>
          </a:prstGeom>
        </p:spPr>
      </p:pic>
      <p:sp>
        <p:nvSpPr>
          <p:cNvPr id="3" name="Foliennummernplatzhalter 5">
            <a:extLst>
              <a:ext uri="{FF2B5EF4-FFF2-40B4-BE49-F238E27FC236}">
                <a16:creationId xmlns:a16="http://schemas.microsoft.com/office/drawing/2014/main" id="{B8EE2ADD-0A27-55B0-70A9-34325FF44FCA}"/>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16</a:t>
            </a:fld>
            <a:endParaRPr lang="de-DE" dirty="0"/>
          </a:p>
        </p:txBody>
      </p:sp>
    </p:spTree>
    <p:extLst>
      <p:ext uri="{BB962C8B-B14F-4D97-AF65-F5344CB8AC3E}">
        <p14:creationId xmlns:p14="http://schemas.microsoft.com/office/powerpoint/2010/main" val="493151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Textplatzhalter 15">
            <a:extLst>
              <a:ext uri="{FF2B5EF4-FFF2-40B4-BE49-F238E27FC236}">
                <a16:creationId xmlns:a16="http://schemas.microsoft.com/office/drawing/2014/main" id="{F0C21D39-CA66-C362-17AB-BAC287D39A20}"/>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17" name="Textplatzhalter 16">
            <a:extLst>
              <a:ext uri="{FF2B5EF4-FFF2-40B4-BE49-F238E27FC236}">
                <a16:creationId xmlns:a16="http://schemas.microsoft.com/office/drawing/2014/main" id="{483E97A6-9756-D62A-8067-B41794A41323}"/>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HANDLUNGSTIPPS</a:t>
            </a:r>
          </a:p>
        </p:txBody>
      </p:sp>
      <p:pic>
        <p:nvPicPr>
          <p:cNvPr id="25" name="Grafik 24">
            <a:extLst>
              <a:ext uri="{FF2B5EF4-FFF2-40B4-BE49-F238E27FC236}">
                <a16:creationId xmlns:a16="http://schemas.microsoft.com/office/drawing/2014/main" id="{617360F2-CCD6-0859-54FF-02CD24BDA6D7}"/>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1039858" y="413431"/>
            <a:ext cx="319061" cy="540000"/>
          </a:xfrm>
          <a:prstGeom prst="rect">
            <a:avLst/>
          </a:prstGeom>
        </p:spPr>
      </p:pic>
      <p:sp>
        <p:nvSpPr>
          <p:cNvPr id="3" name="Foliennummernplatzhalter 5">
            <a:extLst>
              <a:ext uri="{FF2B5EF4-FFF2-40B4-BE49-F238E27FC236}">
                <a16:creationId xmlns:a16="http://schemas.microsoft.com/office/drawing/2014/main" id="{4142B8FA-7607-B8F3-D44B-E61F8805F1AD}"/>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17</a:t>
            </a:fld>
            <a:endParaRPr lang="de-DE" dirty="0"/>
          </a:p>
        </p:txBody>
      </p:sp>
      <p:grpSp>
        <p:nvGrpSpPr>
          <p:cNvPr id="13" name="Gruppieren 12">
            <a:extLst>
              <a:ext uri="{FF2B5EF4-FFF2-40B4-BE49-F238E27FC236}">
                <a16:creationId xmlns:a16="http://schemas.microsoft.com/office/drawing/2014/main" id="{F81ADD89-8741-C83D-05E0-93F394152FE6}"/>
              </a:ext>
            </a:extLst>
          </p:cNvPr>
          <p:cNvGrpSpPr/>
          <p:nvPr/>
        </p:nvGrpSpPr>
        <p:grpSpPr>
          <a:xfrm>
            <a:off x="4284952" y="2764240"/>
            <a:ext cx="900000" cy="900000"/>
            <a:chOff x="4289185" y="3182474"/>
            <a:chExt cx="900000" cy="900000"/>
          </a:xfrm>
        </p:grpSpPr>
        <p:sp>
          <p:nvSpPr>
            <p:cNvPr id="14" name="Ellipse 13">
              <a:extLst>
                <a:ext uri="{FF2B5EF4-FFF2-40B4-BE49-F238E27FC236}">
                  <a16:creationId xmlns:a16="http://schemas.microsoft.com/office/drawing/2014/main" id="{A6176389-02FA-74AA-F981-31A9969CE35A}"/>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EEE0C0DA-9BB5-0BC4-0A91-81CFC70FA77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2" name="Gruppieren 1">
              <a:extLst>
                <a:ext uri="{FF2B5EF4-FFF2-40B4-BE49-F238E27FC236}">
                  <a16:creationId xmlns:a16="http://schemas.microsoft.com/office/drawing/2014/main" id="{0DBF742A-9BD3-B492-3338-870C8EDA3282}"/>
                </a:ext>
              </a:extLst>
            </p:cNvPr>
            <p:cNvGrpSpPr/>
            <p:nvPr/>
          </p:nvGrpSpPr>
          <p:grpSpPr>
            <a:xfrm>
              <a:off x="4379185" y="3272474"/>
              <a:ext cx="720000" cy="720000"/>
              <a:chOff x="-356480" y="4360321"/>
              <a:chExt cx="2641600" cy="2641600"/>
            </a:xfrm>
          </p:grpSpPr>
          <p:sp>
            <p:nvSpPr>
              <p:cNvPr id="4" name="Freihandform: Form 3">
                <a:extLst>
                  <a:ext uri="{FF2B5EF4-FFF2-40B4-BE49-F238E27FC236}">
                    <a16:creationId xmlns:a16="http://schemas.microsoft.com/office/drawing/2014/main" id="{B20F8A28-E2E3-2277-1CE1-163305AA251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A35A81DB-8FB2-1297-5B4C-AAD44A6A335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grpSp>
        <p:nvGrpSpPr>
          <p:cNvPr id="6" name="Gruppieren 5">
            <a:extLst>
              <a:ext uri="{FF2B5EF4-FFF2-40B4-BE49-F238E27FC236}">
                <a16:creationId xmlns:a16="http://schemas.microsoft.com/office/drawing/2014/main" id="{072D550E-05D1-A756-8F80-8B9F41E8B1A3}"/>
              </a:ext>
            </a:extLst>
          </p:cNvPr>
          <p:cNvGrpSpPr/>
          <p:nvPr/>
        </p:nvGrpSpPr>
        <p:grpSpPr>
          <a:xfrm>
            <a:off x="7002815" y="2764240"/>
            <a:ext cx="900000" cy="900000"/>
            <a:chOff x="4289185" y="3182474"/>
            <a:chExt cx="900000" cy="900000"/>
          </a:xfrm>
        </p:grpSpPr>
        <p:sp>
          <p:nvSpPr>
            <p:cNvPr id="7" name="Ellipse 6">
              <a:extLst>
                <a:ext uri="{FF2B5EF4-FFF2-40B4-BE49-F238E27FC236}">
                  <a16:creationId xmlns:a16="http://schemas.microsoft.com/office/drawing/2014/main" id="{DB45CD0D-9AB1-B5DF-0B33-E1F7E82050F3}"/>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Ellipse 7">
              <a:extLst>
                <a:ext uri="{FF2B5EF4-FFF2-40B4-BE49-F238E27FC236}">
                  <a16:creationId xmlns:a16="http://schemas.microsoft.com/office/drawing/2014/main" id="{743FB591-D8CC-9D44-0CB1-BD9DEF68B139}"/>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26" name="Gruppieren 25">
              <a:extLst>
                <a:ext uri="{FF2B5EF4-FFF2-40B4-BE49-F238E27FC236}">
                  <a16:creationId xmlns:a16="http://schemas.microsoft.com/office/drawing/2014/main" id="{4847F2C5-029E-E8AC-FBB5-66EC56C81BFE}"/>
                </a:ext>
              </a:extLst>
            </p:cNvPr>
            <p:cNvGrpSpPr/>
            <p:nvPr/>
          </p:nvGrpSpPr>
          <p:grpSpPr>
            <a:xfrm>
              <a:off x="4379185" y="3272474"/>
              <a:ext cx="720000" cy="720000"/>
              <a:chOff x="-356480" y="4360321"/>
              <a:chExt cx="2641600" cy="2641600"/>
            </a:xfrm>
          </p:grpSpPr>
          <p:sp>
            <p:nvSpPr>
              <p:cNvPr id="27" name="Freihandform: Form 26">
                <a:extLst>
                  <a:ext uri="{FF2B5EF4-FFF2-40B4-BE49-F238E27FC236}">
                    <a16:creationId xmlns:a16="http://schemas.microsoft.com/office/drawing/2014/main" id="{A70B108A-A028-2905-6DAF-DCCA7FA85C5F}"/>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8473D596-4F9C-DE02-CC5F-36C98FA3A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grpSp>
        <p:nvGrpSpPr>
          <p:cNvPr id="31" name="Gruppieren 30">
            <a:extLst>
              <a:ext uri="{FF2B5EF4-FFF2-40B4-BE49-F238E27FC236}">
                <a16:creationId xmlns:a16="http://schemas.microsoft.com/office/drawing/2014/main" id="{A65B2823-79D8-A311-B3A7-046DABE85CB8}"/>
              </a:ext>
            </a:extLst>
          </p:cNvPr>
          <p:cNvGrpSpPr/>
          <p:nvPr/>
        </p:nvGrpSpPr>
        <p:grpSpPr>
          <a:xfrm>
            <a:off x="4289185" y="3932957"/>
            <a:ext cx="900000" cy="900000"/>
            <a:chOff x="4289185" y="3182474"/>
            <a:chExt cx="900000" cy="900000"/>
          </a:xfrm>
        </p:grpSpPr>
        <p:sp>
          <p:nvSpPr>
            <p:cNvPr id="32" name="Ellipse 31">
              <a:extLst>
                <a:ext uri="{FF2B5EF4-FFF2-40B4-BE49-F238E27FC236}">
                  <a16:creationId xmlns:a16="http://schemas.microsoft.com/office/drawing/2014/main" id="{346CB052-D80F-5FCD-FC5F-394F71C8BD4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0D3AB460-ACAB-3F8C-79E4-00C5CD8B79B1}"/>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34" name="Gruppieren 33">
              <a:extLst>
                <a:ext uri="{FF2B5EF4-FFF2-40B4-BE49-F238E27FC236}">
                  <a16:creationId xmlns:a16="http://schemas.microsoft.com/office/drawing/2014/main" id="{5F988369-B8BF-E649-0157-2733FDA0B600}"/>
                </a:ext>
              </a:extLst>
            </p:cNvPr>
            <p:cNvGrpSpPr/>
            <p:nvPr/>
          </p:nvGrpSpPr>
          <p:grpSpPr>
            <a:xfrm>
              <a:off x="4379185" y="3272474"/>
              <a:ext cx="720000" cy="720000"/>
              <a:chOff x="-356480" y="4360321"/>
              <a:chExt cx="2641600" cy="2641600"/>
            </a:xfrm>
          </p:grpSpPr>
          <p:sp>
            <p:nvSpPr>
              <p:cNvPr id="35" name="Freihandform: Form 34">
                <a:extLst>
                  <a:ext uri="{FF2B5EF4-FFF2-40B4-BE49-F238E27FC236}">
                    <a16:creationId xmlns:a16="http://schemas.microsoft.com/office/drawing/2014/main" id="{58037F26-4C79-D879-61D3-C9C2FFE925E5}"/>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36" name="Freihandform: Form 35">
                <a:extLst>
                  <a:ext uri="{FF2B5EF4-FFF2-40B4-BE49-F238E27FC236}">
                    <a16:creationId xmlns:a16="http://schemas.microsoft.com/office/drawing/2014/main" id="{B9383E10-3610-2B1B-E470-E742B7E0565F}"/>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dirty="0"/>
              </a:p>
            </p:txBody>
          </p:sp>
        </p:grpSp>
      </p:grpSp>
      <p:grpSp>
        <p:nvGrpSpPr>
          <p:cNvPr id="40" name="Gruppieren 39">
            <a:extLst>
              <a:ext uri="{FF2B5EF4-FFF2-40B4-BE49-F238E27FC236}">
                <a16:creationId xmlns:a16="http://schemas.microsoft.com/office/drawing/2014/main" id="{9BEEFEC3-53F8-5D33-0BB5-01ABB3989890}"/>
              </a:ext>
            </a:extLst>
          </p:cNvPr>
          <p:cNvGrpSpPr/>
          <p:nvPr/>
        </p:nvGrpSpPr>
        <p:grpSpPr>
          <a:xfrm>
            <a:off x="7002815" y="3932957"/>
            <a:ext cx="900000" cy="900000"/>
            <a:chOff x="4289185" y="3182474"/>
            <a:chExt cx="900000" cy="900000"/>
          </a:xfrm>
        </p:grpSpPr>
        <p:sp>
          <p:nvSpPr>
            <p:cNvPr id="41" name="Ellipse 40">
              <a:extLst>
                <a:ext uri="{FF2B5EF4-FFF2-40B4-BE49-F238E27FC236}">
                  <a16:creationId xmlns:a16="http://schemas.microsoft.com/office/drawing/2014/main" id="{3D398D84-9F8A-6CCA-3133-699187359271}"/>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Ellipse 41">
              <a:extLst>
                <a:ext uri="{FF2B5EF4-FFF2-40B4-BE49-F238E27FC236}">
                  <a16:creationId xmlns:a16="http://schemas.microsoft.com/office/drawing/2014/main" id="{83E43D40-01A6-87FC-DA3B-704387A859AE}"/>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43" name="Gruppieren 42">
              <a:extLst>
                <a:ext uri="{FF2B5EF4-FFF2-40B4-BE49-F238E27FC236}">
                  <a16:creationId xmlns:a16="http://schemas.microsoft.com/office/drawing/2014/main" id="{FF0D6F53-E394-B33C-9018-0FCCFC2A259B}"/>
                </a:ext>
              </a:extLst>
            </p:cNvPr>
            <p:cNvGrpSpPr/>
            <p:nvPr/>
          </p:nvGrpSpPr>
          <p:grpSpPr>
            <a:xfrm>
              <a:off x="4379185" y="3272474"/>
              <a:ext cx="720000" cy="720000"/>
              <a:chOff x="-356480" y="4360321"/>
              <a:chExt cx="2641600" cy="2641600"/>
            </a:xfrm>
          </p:grpSpPr>
          <p:sp>
            <p:nvSpPr>
              <p:cNvPr id="44" name="Freihandform: Form 43">
                <a:extLst>
                  <a:ext uri="{FF2B5EF4-FFF2-40B4-BE49-F238E27FC236}">
                    <a16:creationId xmlns:a16="http://schemas.microsoft.com/office/drawing/2014/main" id="{5876AA25-74D7-18F9-BCEA-C5C44241F44C}"/>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45" name="Freihandform: Form 44">
                <a:extLst>
                  <a:ext uri="{FF2B5EF4-FFF2-40B4-BE49-F238E27FC236}">
                    <a16:creationId xmlns:a16="http://schemas.microsoft.com/office/drawing/2014/main" id="{745DC000-1166-311D-C87F-ADD9E1E9B33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grpSp>
        <p:nvGrpSpPr>
          <p:cNvPr id="48" name="Gruppieren 47">
            <a:extLst>
              <a:ext uri="{FF2B5EF4-FFF2-40B4-BE49-F238E27FC236}">
                <a16:creationId xmlns:a16="http://schemas.microsoft.com/office/drawing/2014/main" id="{5DE72BF1-3891-E219-11CE-F8D6CD238F8C}"/>
              </a:ext>
            </a:extLst>
          </p:cNvPr>
          <p:cNvGrpSpPr/>
          <p:nvPr/>
        </p:nvGrpSpPr>
        <p:grpSpPr>
          <a:xfrm>
            <a:off x="6372481" y="5101675"/>
            <a:ext cx="900000" cy="900000"/>
            <a:chOff x="4289185" y="3182474"/>
            <a:chExt cx="900000" cy="900000"/>
          </a:xfrm>
        </p:grpSpPr>
        <p:sp>
          <p:nvSpPr>
            <p:cNvPr id="49" name="Ellipse 48">
              <a:extLst>
                <a:ext uri="{FF2B5EF4-FFF2-40B4-BE49-F238E27FC236}">
                  <a16:creationId xmlns:a16="http://schemas.microsoft.com/office/drawing/2014/main" id="{D3B12E60-7480-84EC-C5B1-5526BC2F996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Ellipse 49">
              <a:extLst>
                <a:ext uri="{FF2B5EF4-FFF2-40B4-BE49-F238E27FC236}">
                  <a16:creationId xmlns:a16="http://schemas.microsoft.com/office/drawing/2014/main" id="{F4643FCC-7406-217F-919D-313BB8B6049C}"/>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1" name="Gruppieren 50">
              <a:extLst>
                <a:ext uri="{FF2B5EF4-FFF2-40B4-BE49-F238E27FC236}">
                  <a16:creationId xmlns:a16="http://schemas.microsoft.com/office/drawing/2014/main" id="{73A39641-01F7-437E-BDC5-B95FA4BD0E4A}"/>
                </a:ext>
              </a:extLst>
            </p:cNvPr>
            <p:cNvGrpSpPr/>
            <p:nvPr/>
          </p:nvGrpSpPr>
          <p:grpSpPr>
            <a:xfrm>
              <a:off x="4379185" y="3272474"/>
              <a:ext cx="720000" cy="720000"/>
              <a:chOff x="-356480" y="4360321"/>
              <a:chExt cx="2641600" cy="2641600"/>
            </a:xfrm>
          </p:grpSpPr>
          <p:sp>
            <p:nvSpPr>
              <p:cNvPr id="52" name="Freihandform: Form 51">
                <a:extLst>
                  <a:ext uri="{FF2B5EF4-FFF2-40B4-BE49-F238E27FC236}">
                    <a16:creationId xmlns:a16="http://schemas.microsoft.com/office/drawing/2014/main" id="{90E78B52-28AB-6DC6-B649-BDE4AF423274}"/>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53" name="Freihandform: Form 52">
                <a:extLst>
                  <a:ext uri="{FF2B5EF4-FFF2-40B4-BE49-F238E27FC236}">
                    <a16:creationId xmlns:a16="http://schemas.microsoft.com/office/drawing/2014/main" id="{D5127C70-B165-0341-14D2-DD9D94467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grpSp>
        <p:nvGrpSpPr>
          <p:cNvPr id="56" name="Gruppieren 55">
            <a:extLst>
              <a:ext uri="{FF2B5EF4-FFF2-40B4-BE49-F238E27FC236}">
                <a16:creationId xmlns:a16="http://schemas.microsoft.com/office/drawing/2014/main" id="{78CD0BAF-2C34-8C66-97C2-6E94FB631928}"/>
              </a:ext>
            </a:extLst>
          </p:cNvPr>
          <p:cNvGrpSpPr/>
          <p:nvPr/>
        </p:nvGrpSpPr>
        <p:grpSpPr>
          <a:xfrm>
            <a:off x="4919519" y="5101675"/>
            <a:ext cx="900000" cy="900000"/>
            <a:chOff x="4289185" y="3182474"/>
            <a:chExt cx="900000" cy="900000"/>
          </a:xfrm>
        </p:grpSpPr>
        <p:sp>
          <p:nvSpPr>
            <p:cNvPr id="57" name="Ellipse 56">
              <a:extLst>
                <a:ext uri="{FF2B5EF4-FFF2-40B4-BE49-F238E27FC236}">
                  <a16:creationId xmlns:a16="http://schemas.microsoft.com/office/drawing/2014/main" id="{454E73BF-1CF5-91D0-B4AB-B7575E1D425B}"/>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Ellipse 57">
              <a:extLst>
                <a:ext uri="{FF2B5EF4-FFF2-40B4-BE49-F238E27FC236}">
                  <a16:creationId xmlns:a16="http://schemas.microsoft.com/office/drawing/2014/main" id="{504496D9-3E12-1A5E-4F5E-7E98F98FEC54}"/>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9" name="Gruppieren 58">
              <a:extLst>
                <a:ext uri="{FF2B5EF4-FFF2-40B4-BE49-F238E27FC236}">
                  <a16:creationId xmlns:a16="http://schemas.microsoft.com/office/drawing/2014/main" id="{45148884-7463-E3F3-5EC5-B467A6047B60}"/>
                </a:ext>
              </a:extLst>
            </p:cNvPr>
            <p:cNvGrpSpPr/>
            <p:nvPr/>
          </p:nvGrpSpPr>
          <p:grpSpPr>
            <a:xfrm>
              <a:off x="4379185" y="3272474"/>
              <a:ext cx="720000" cy="720000"/>
              <a:chOff x="-356480" y="4360321"/>
              <a:chExt cx="2641600" cy="2641600"/>
            </a:xfrm>
          </p:grpSpPr>
          <p:sp>
            <p:nvSpPr>
              <p:cNvPr id="60" name="Freihandform: Form 59">
                <a:extLst>
                  <a:ext uri="{FF2B5EF4-FFF2-40B4-BE49-F238E27FC236}">
                    <a16:creationId xmlns:a16="http://schemas.microsoft.com/office/drawing/2014/main" id="{F1A4C781-F9F1-9EA2-B441-8173683EB2E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61" name="Freihandform: Form 60">
                <a:extLst>
                  <a:ext uri="{FF2B5EF4-FFF2-40B4-BE49-F238E27FC236}">
                    <a16:creationId xmlns:a16="http://schemas.microsoft.com/office/drawing/2014/main" id="{D410EA6C-37A2-8260-3565-FA4AA362DB95}"/>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grpSp>
        <p:nvGrpSpPr>
          <p:cNvPr id="63" name="Gruppieren 62">
            <a:extLst>
              <a:ext uri="{FF2B5EF4-FFF2-40B4-BE49-F238E27FC236}">
                <a16:creationId xmlns:a16="http://schemas.microsoft.com/office/drawing/2014/main" id="{D512AC55-4811-D61D-CE63-44A3B6787B96}"/>
              </a:ext>
            </a:extLst>
          </p:cNvPr>
          <p:cNvGrpSpPr/>
          <p:nvPr/>
        </p:nvGrpSpPr>
        <p:grpSpPr>
          <a:xfrm>
            <a:off x="5639186" y="2210344"/>
            <a:ext cx="900000" cy="900000"/>
            <a:chOff x="4289185" y="3182474"/>
            <a:chExt cx="900000" cy="900000"/>
          </a:xfrm>
        </p:grpSpPr>
        <p:sp>
          <p:nvSpPr>
            <p:cNvPr id="65" name="Ellipse 64">
              <a:extLst>
                <a:ext uri="{FF2B5EF4-FFF2-40B4-BE49-F238E27FC236}">
                  <a16:creationId xmlns:a16="http://schemas.microsoft.com/office/drawing/2014/main" id="{D03EEBDE-A3B6-754C-F371-8B59CDAAE98E}"/>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6" name="Ellipse 65">
              <a:extLst>
                <a:ext uri="{FF2B5EF4-FFF2-40B4-BE49-F238E27FC236}">
                  <a16:creationId xmlns:a16="http://schemas.microsoft.com/office/drawing/2014/main" id="{125EFD25-159D-9E04-1E9A-CB3D694A910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spc="100" dirty="0">
                <a:solidFill>
                  <a:schemeClr val="accent1"/>
                </a:solidFill>
              </a:endParaRPr>
            </a:p>
          </p:txBody>
        </p:sp>
        <p:grpSp>
          <p:nvGrpSpPr>
            <p:cNvPr id="67" name="Gruppieren 66">
              <a:extLst>
                <a:ext uri="{FF2B5EF4-FFF2-40B4-BE49-F238E27FC236}">
                  <a16:creationId xmlns:a16="http://schemas.microsoft.com/office/drawing/2014/main" id="{C18FA6FC-1B71-B5D6-2D00-1E5339C64E7A}"/>
                </a:ext>
              </a:extLst>
            </p:cNvPr>
            <p:cNvGrpSpPr/>
            <p:nvPr/>
          </p:nvGrpSpPr>
          <p:grpSpPr>
            <a:xfrm>
              <a:off x="4379185" y="3272474"/>
              <a:ext cx="720000" cy="720000"/>
              <a:chOff x="-356480" y="4360321"/>
              <a:chExt cx="2641600" cy="2641600"/>
            </a:xfrm>
          </p:grpSpPr>
          <p:sp>
            <p:nvSpPr>
              <p:cNvPr id="68" name="Freihandform: Form 67">
                <a:extLst>
                  <a:ext uri="{FF2B5EF4-FFF2-40B4-BE49-F238E27FC236}">
                    <a16:creationId xmlns:a16="http://schemas.microsoft.com/office/drawing/2014/main" id="{90294D06-2CA3-FC62-C561-00F66370BCC6}"/>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69" name="Freihandform: Form 68">
                <a:extLst>
                  <a:ext uri="{FF2B5EF4-FFF2-40B4-BE49-F238E27FC236}">
                    <a16:creationId xmlns:a16="http://schemas.microsoft.com/office/drawing/2014/main" id="{A8EA6A74-28D0-3D97-E8D1-8DA29B3259CD}"/>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sp>
        <p:nvSpPr>
          <p:cNvPr id="9" name="Textplatzhalter 8"/>
          <p:cNvSpPr>
            <a:spLocks noGrp="1"/>
          </p:cNvSpPr>
          <p:nvPr>
            <p:ph type="body" sz="quarter" idx="19"/>
          </p:nvPr>
        </p:nvSpPr>
        <p:spPr/>
        <p:txBody>
          <a:bodyPr/>
          <a:lstStyle/>
          <a:p>
            <a:endParaRPr lang="de-DE"/>
          </a:p>
        </p:txBody>
      </p:sp>
      <p:sp>
        <p:nvSpPr>
          <p:cNvPr id="10" name="Textplatzhalter 9"/>
          <p:cNvSpPr>
            <a:spLocks noGrp="1"/>
          </p:cNvSpPr>
          <p:nvPr>
            <p:ph type="body" sz="quarter" idx="17"/>
          </p:nvPr>
        </p:nvSpPr>
        <p:spPr/>
        <p:txBody>
          <a:bodyPr/>
          <a:lstStyle/>
          <a:p>
            <a:endParaRPr lang="de-DE"/>
          </a:p>
        </p:txBody>
      </p:sp>
      <p:sp>
        <p:nvSpPr>
          <p:cNvPr id="11" name="Textplatzhalter 10"/>
          <p:cNvSpPr>
            <a:spLocks noGrp="1"/>
          </p:cNvSpPr>
          <p:nvPr>
            <p:ph type="body" sz="quarter" idx="18"/>
          </p:nvPr>
        </p:nvSpPr>
        <p:spPr/>
        <p:txBody>
          <a:bodyPr/>
          <a:lstStyle/>
          <a:p>
            <a:endParaRPr lang="de-DE"/>
          </a:p>
        </p:txBody>
      </p:sp>
      <p:sp>
        <p:nvSpPr>
          <p:cNvPr id="12" name="Textplatzhalter 11"/>
          <p:cNvSpPr>
            <a:spLocks noGrp="1"/>
          </p:cNvSpPr>
          <p:nvPr>
            <p:ph type="body" sz="quarter" idx="13"/>
          </p:nvPr>
        </p:nvSpPr>
        <p:spPr/>
        <p:txBody>
          <a:bodyPr/>
          <a:lstStyle/>
          <a:p>
            <a:endParaRPr lang="de-DE"/>
          </a:p>
        </p:txBody>
      </p:sp>
      <p:sp>
        <p:nvSpPr>
          <p:cNvPr id="29" name="Textplatzhalter 28"/>
          <p:cNvSpPr>
            <a:spLocks noGrp="1"/>
          </p:cNvSpPr>
          <p:nvPr>
            <p:ph type="body" sz="quarter" idx="14"/>
          </p:nvPr>
        </p:nvSpPr>
        <p:spPr/>
        <p:txBody>
          <a:bodyPr/>
          <a:lstStyle/>
          <a:p>
            <a:endParaRPr lang="de-DE"/>
          </a:p>
        </p:txBody>
      </p:sp>
      <p:sp>
        <p:nvSpPr>
          <p:cNvPr id="30" name="Textplatzhalter 29"/>
          <p:cNvSpPr>
            <a:spLocks noGrp="1"/>
          </p:cNvSpPr>
          <p:nvPr>
            <p:ph type="body" sz="quarter" idx="15"/>
          </p:nvPr>
        </p:nvSpPr>
        <p:spPr/>
        <p:txBody>
          <a:bodyPr/>
          <a:lstStyle/>
          <a:p>
            <a:endParaRPr lang="de-DE"/>
          </a:p>
        </p:txBody>
      </p:sp>
      <p:sp>
        <p:nvSpPr>
          <p:cNvPr id="37" name="Textplatzhalter 36"/>
          <p:cNvSpPr>
            <a:spLocks noGrp="1"/>
          </p:cNvSpPr>
          <p:nvPr>
            <p:ph type="body" sz="quarter" idx="16"/>
          </p:nvPr>
        </p:nvSpPr>
        <p:spPr/>
        <p:txBody>
          <a:bodyPr/>
          <a:lstStyle/>
          <a:p>
            <a:endParaRPr lang="de-DE"/>
          </a:p>
        </p:txBody>
      </p:sp>
    </p:spTree>
    <p:extLst>
      <p:ext uri="{BB962C8B-B14F-4D97-AF65-F5344CB8AC3E}">
        <p14:creationId xmlns:p14="http://schemas.microsoft.com/office/powerpoint/2010/main" val="1256810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extplatzhalter 10">
            <a:extLst>
              <a:ext uri="{FF2B5EF4-FFF2-40B4-BE49-F238E27FC236}">
                <a16:creationId xmlns:a16="http://schemas.microsoft.com/office/drawing/2014/main" id="{C95AB1ED-2189-7F6C-2D37-16AA000B11E9}"/>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12" name="Textplatzhalter 11">
            <a:extLst>
              <a:ext uri="{FF2B5EF4-FFF2-40B4-BE49-F238E27FC236}">
                <a16:creationId xmlns:a16="http://schemas.microsoft.com/office/drawing/2014/main" id="{7F3E71DB-2335-90CA-8FC1-17EEC4C0DF21}"/>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EINE SPALTE</a:t>
            </a:r>
          </a:p>
        </p:txBody>
      </p:sp>
      <p:sp>
        <p:nvSpPr>
          <p:cNvPr id="13" name="Textplatzhalter 12">
            <a:extLst>
              <a:ext uri="{FF2B5EF4-FFF2-40B4-BE49-F238E27FC236}">
                <a16:creationId xmlns:a16="http://schemas.microsoft.com/office/drawing/2014/main" id="{22FD5894-3630-9938-BE69-2A1C758F758C}"/>
              </a:ext>
            </a:extLst>
          </p:cNvPr>
          <p:cNvSpPr>
            <a:spLocks noGrp="1"/>
          </p:cNvSpPr>
          <p:nvPr>
            <p:ph type="body" sz="quarter" idx="13"/>
          </p:nvPr>
        </p:nvSpPr>
        <p:spPr/>
        <p:txBody>
          <a:bodyPr/>
          <a:lstStyle/>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no</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Duis </a:t>
            </a:r>
            <a:r>
              <a:rPr lang="de-DE" sz="2000" dirty="0" err="1">
                <a:solidFill>
                  <a:schemeClr val="tx1">
                    <a:lumMod val="75000"/>
                    <a:lumOff val="25000"/>
                  </a:schemeClr>
                </a:solidFill>
              </a:rPr>
              <a:t>autem</a:t>
            </a:r>
            <a:r>
              <a:rPr lang="de-DE" sz="2000" dirty="0">
                <a:solidFill>
                  <a:schemeClr val="tx1">
                    <a:lumMod val="75000"/>
                    <a:lumOff val="25000"/>
                  </a:schemeClr>
                </a:solidFill>
              </a:rPr>
              <a:t> </a:t>
            </a:r>
            <a:r>
              <a:rPr lang="de-DE" sz="2000" dirty="0" err="1">
                <a:solidFill>
                  <a:schemeClr val="tx1">
                    <a:lumMod val="75000"/>
                    <a:lumOff val="25000"/>
                  </a:schemeClr>
                </a:solidFill>
              </a:rPr>
              <a:t>vel</a:t>
            </a:r>
            <a:r>
              <a:rPr lang="de-DE" sz="2000" dirty="0">
                <a:solidFill>
                  <a:schemeClr val="tx1">
                    <a:lumMod val="75000"/>
                    <a:lumOff val="25000"/>
                  </a:schemeClr>
                </a:solidFill>
              </a:rPr>
              <a:t> </a:t>
            </a:r>
            <a:r>
              <a:rPr lang="de-DE" sz="2000" dirty="0" err="1">
                <a:solidFill>
                  <a:schemeClr val="tx1">
                    <a:lumMod val="75000"/>
                    <a:lumOff val="25000"/>
                  </a:schemeClr>
                </a:solidFill>
              </a:rPr>
              <a:t>eum</a:t>
            </a:r>
            <a:r>
              <a:rPr lang="de-DE" sz="2000" dirty="0">
                <a:solidFill>
                  <a:schemeClr val="tx1">
                    <a:lumMod val="75000"/>
                    <a:lumOff val="25000"/>
                  </a:schemeClr>
                </a:solidFill>
              </a:rPr>
              <a:t> </a:t>
            </a:r>
            <a:r>
              <a:rPr lang="de-DE" sz="2000" dirty="0" err="1">
                <a:solidFill>
                  <a:schemeClr val="tx1">
                    <a:lumMod val="75000"/>
                    <a:lumOff val="25000"/>
                  </a:schemeClr>
                </a:solidFill>
              </a:rPr>
              <a:t>iriure</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in </a:t>
            </a:r>
            <a:r>
              <a:rPr lang="de-DE" sz="2000" dirty="0" err="1">
                <a:solidFill>
                  <a:schemeClr val="tx1">
                    <a:lumMod val="75000"/>
                    <a:lumOff val="25000"/>
                  </a:schemeClr>
                </a:solidFill>
              </a:rPr>
              <a:t>hendrerit</a:t>
            </a:r>
            <a:r>
              <a:rPr lang="de-DE" sz="2000" dirty="0">
                <a:solidFill>
                  <a:schemeClr val="tx1">
                    <a:lumMod val="75000"/>
                    <a:lumOff val="25000"/>
                  </a:schemeClr>
                </a:solidFill>
              </a:rPr>
              <a:t>. </a:t>
            </a:r>
          </a:p>
          <a:p>
            <a:pPr marL="269875" indent="-269875">
              <a:lnSpc>
                <a:spcPct val="110000"/>
              </a:lnSpc>
              <a:spcBef>
                <a:spcPts val="1000"/>
              </a:spcBef>
              <a:buFont typeface="Arial" panose="020B0604020202020204" pitchFamily="34" charset="0"/>
              <a:buChar char="•"/>
            </a:pPr>
            <a:r>
              <a:rPr lang="de-DE" sz="2000" dirty="0">
                <a:solidFill>
                  <a:schemeClr val="tx1">
                    <a:lumMod val="75000"/>
                    <a:lumOff val="25000"/>
                  </a:schemeClr>
                </a:solidFill>
              </a:rPr>
              <a:t>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no</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 </a:t>
            </a: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no</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 </a:t>
            </a:r>
            <a:r>
              <a:rPr lang="de-DE" sz="2000" dirty="0" err="1">
                <a:solidFill>
                  <a:schemeClr val="tx1">
                    <a:lumMod val="75000"/>
                    <a:lumOff val="25000"/>
                  </a:schemeClr>
                </a:solidFill>
              </a:rPr>
              <a:t>takimata</a:t>
            </a:r>
            <a:r>
              <a:rPr lang="de-DE" sz="2000" dirty="0">
                <a:solidFill>
                  <a:schemeClr val="tx1">
                    <a:lumMod val="75000"/>
                    <a:lumOff val="25000"/>
                  </a:schemeClr>
                </a:solidFill>
              </a:rPr>
              <a:t/>
            </a:r>
            <a:br>
              <a:rPr lang="de-DE" sz="2000" dirty="0">
                <a:solidFill>
                  <a:schemeClr val="tx1">
                    <a:lumMod val="75000"/>
                    <a:lumOff val="25000"/>
                  </a:schemeClr>
                </a:solidFill>
              </a:rPr>
            </a:br>
            <a:r>
              <a:rPr lang="de-DE" sz="2000" dirty="0">
                <a:solidFill>
                  <a:schemeClr val="tx1">
                    <a:lumMod val="75000"/>
                    <a:lumOff val="25000"/>
                  </a:schemeClr>
                </a:solidFill>
              </a:rPr>
              <a:t>in </a:t>
            </a:r>
            <a:r>
              <a:rPr lang="de-DE" sz="2000" dirty="0" err="1">
                <a:solidFill>
                  <a:schemeClr val="tx1">
                    <a:lumMod val="75000"/>
                    <a:lumOff val="25000"/>
                  </a:schemeClr>
                </a:solidFill>
              </a:rPr>
              <a:t>vulputate</a:t>
            </a:r>
            <a:r>
              <a:rPr lang="de-DE" sz="2000" dirty="0">
                <a:solidFill>
                  <a:schemeClr val="tx1">
                    <a:lumMod val="75000"/>
                    <a:lumOff val="25000"/>
                  </a:schemeClr>
                </a:solidFill>
              </a:rPr>
              <a:t> </a:t>
            </a:r>
            <a:r>
              <a:rPr lang="de-DE" sz="2000" dirty="0" err="1">
                <a:solidFill>
                  <a:schemeClr val="tx1">
                    <a:lumMod val="75000"/>
                    <a:lumOff val="25000"/>
                  </a:schemeClr>
                </a:solidFill>
              </a:rPr>
              <a:t>velit</a:t>
            </a:r>
            <a:r>
              <a:rPr lang="de-DE" sz="2000" dirty="0">
                <a:solidFill>
                  <a:schemeClr val="tx1">
                    <a:lumMod val="75000"/>
                    <a:lumOff val="25000"/>
                  </a:schemeClr>
                </a:solidFill>
              </a:rPr>
              <a:t> esse </a:t>
            </a:r>
            <a:r>
              <a:rPr lang="de-DE" sz="2000" dirty="0" err="1">
                <a:solidFill>
                  <a:schemeClr val="tx1">
                    <a:lumMod val="75000"/>
                    <a:lumOff val="25000"/>
                  </a:schemeClr>
                </a:solidFill>
              </a:rPr>
              <a:t>molestie</a:t>
            </a:r>
            <a:r>
              <a:rPr lang="de-DE" sz="2000" dirty="0">
                <a:solidFill>
                  <a:schemeClr val="tx1">
                    <a:lumMod val="75000"/>
                    <a:lumOff val="25000"/>
                  </a:schemeClr>
                </a:solidFill>
              </a:rPr>
              <a:t> </a:t>
            </a:r>
            <a:r>
              <a:rPr lang="de-DE" sz="2000" dirty="0" err="1">
                <a:solidFill>
                  <a:schemeClr val="tx1">
                    <a:lumMod val="75000"/>
                    <a:lumOff val="25000"/>
                  </a:schemeClr>
                </a:solidFill>
              </a:rPr>
              <a:t>consequat</a:t>
            </a:r>
            <a:r>
              <a:rPr lang="de-DE" sz="2000" dirty="0">
                <a:solidFill>
                  <a:schemeClr val="tx1">
                    <a:lumMod val="75000"/>
                    <a:lumOff val="25000"/>
                  </a:schemeClr>
                </a:solidFill>
              </a:rPr>
              <a:t>, </a:t>
            </a:r>
            <a:r>
              <a:rPr lang="de-DE" sz="2000" dirty="0" err="1">
                <a:solidFill>
                  <a:schemeClr val="tx1">
                    <a:lumMod val="75000"/>
                    <a:lumOff val="25000"/>
                  </a:schemeClr>
                </a:solidFill>
              </a:rPr>
              <a:t>vel</a:t>
            </a:r>
            <a:r>
              <a:rPr lang="de-DE" sz="2000" dirty="0">
                <a:solidFill>
                  <a:schemeClr val="tx1">
                    <a:lumMod val="75000"/>
                    <a:lumOff val="25000"/>
                  </a:schemeClr>
                </a:solidFill>
              </a:rPr>
              <a:t> </a:t>
            </a:r>
            <a:r>
              <a:rPr lang="de-DE" sz="2000" dirty="0" err="1">
                <a:solidFill>
                  <a:schemeClr val="tx1">
                    <a:lumMod val="75000"/>
                    <a:lumOff val="25000"/>
                  </a:schemeClr>
                </a:solidFill>
              </a:rPr>
              <a:t>illum</a:t>
            </a:r>
            <a:r>
              <a:rPr lang="de-DE" sz="2000" dirty="0">
                <a:solidFill>
                  <a:schemeClr val="tx1">
                    <a:lumMod val="75000"/>
                    <a:lumOff val="25000"/>
                  </a:schemeClr>
                </a:solidFill>
              </a:rPr>
              <a:t> </a:t>
            </a:r>
            <a:r>
              <a:rPr lang="de-DE" sz="2000" dirty="0" err="1">
                <a:solidFill>
                  <a:schemeClr val="tx1">
                    <a:lumMod val="75000"/>
                    <a:lumOff val="25000"/>
                  </a:schemeClr>
                </a:solidFill>
              </a:rPr>
              <a:t>dolore</a:t>
            </a:r>
            <a:r>
              <a:rPr lang="de-DE" sz="2000" dirty="0">
                <a:solidFill>
                  <a:schemeClr val="tx1">
                    <a:lumMod val="75000"/>
                    <a:lumOff val="25000"/>
                  </a:schemeClr>
                </a:solidFill>
              </a:rPr>
              <a:t> </a:t>
            </a:r>
            <a:r>
              <a:rPr lang="de-DE" sz="2000" dirty="0" err="1">
                <a:solidFill>
                  <a:schemeClr val="tx1">
                    <a:lumMod val="75000"/>
                    <a:lumOff val="25000"/>
                  </a:schemeClr>
                </a:solidFill>
              </a:rPr>
              <a:t>eu</a:t>
            </a:r>
            <a:r>
              <a:rPr lang="de-DE" sz="2000" dirty="0">
                <a:solidFill>
                  <a:schemeClr val="tx1">
                    <a:lumMod val="75000"/>
                    <a:lumOff val="25000"/>
                  </a:schemeClr>
                </a:solidFill>
              </a:rPr>
              <a:t> </a:t>
            </a:r>
            <a:r>
              <a:rPr lang="de-DE" sz="2000" dirty="0" err="1">
                <a:solidFill>
                  <a:schemeClr val="tx1">
                    <a:lumMod val="75000"/>
                    <a:lumOff val="25000"/>
                  </a:schemeClr>
                </a:solidFill>
              </a:rPr>
              <a:t>feugiat</a:t>
            </a:r>
            <a:r>
              <a:rPr lang="de-DE" sz="2000" dirty="0">
                <a:solidFill>
                  <a:schemeClr val="tx1">
                    <a:lumMod val="75000"/>
                    <a:lumOff val="25000"/>
                  </a:schemeClr>
                </a:solidFill>
              </a:rPr>
              <a:t> nulla </a:t>
            </a:r>
            <a:r>
              <a:rPr lang="de-DE" sz="2000" dirty="0" err="1">
                <a:solidFill>
                  <a:schemeClr val="tx1">
                    <a:lumMod val="75000"/>
                    <a:lumOff val="25000"/>
                  </a:schemeClr>
                </a:solidFill>
              </a:rPr>
              <a:t>facilisisto</a:t>
            </a:r>
            <a:r>
              <a:rPr lang="de-DE" sz="2000" dirty="0">
                <a:solidFill>
                  <a:schemeClr val="tx1">
                    <a:lumMod val="75000"/>
                    <a:lumOff val="25000"/>
                  </a:schemeClr>
                </a:solidFill>
              </a:rPr>
              <a:t>.</a:t>
            </a:r>
          </a:p>
        </p:txBody>
      </p:sp>
      <p:sp>
        <p:nvSpPr>
          <p:cNvPr id="3" name="Foliennummernplatzhalter 5">
            <a:extLst>
              <a:ext uri="{FF2B5EF4-FFF2-40B4-BE49-F238E27FC236}">
                <a16:creationId xmlns:a16="http://schemas.microsoft.com/office/drawing/2014/main" id="{AD4B3670-9529-53A1-6104-BD2755B9900E}"/>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18</a:t>
            </a:fld>
            <a:endParaRPr lang="de-DE" dirty="0"/>
          </a:p>
        </p:txBody>
      </p:sp>
      <p:grpSp>
        <p:nvGrpSpPr>
          <p:cNvPr id="2" name="Grafik 13">
            <a:extLst>
              <a:ext uri="{FF2B5EF4-FFF2-40B4-BE49-F238E27FC236}">
                <a16:creationId xmlns:a16="http://schemas.microsoft.com/office/drawing/2014/main" id="{B06C4817-DD73-E218-BDC2-2BD0C65246F3}"/>
              </a:ext>
            </a:extLst>
          </p:cNvPr>
          <p:cNvGrpSpPr/>
          <p:nvPr/>
        </p:nvGrpSpPr>
        <p:grpSpPr>
          <a:xfrm>
            <a:off x="10950177" y="410025"/>
            <a:ext cx="465152" cy="539923"/>
            <a:chOff x="10950380" y="410026"/>
            <a:chExt cx="465152" cy="539923"/>
          </a:xfrm>
        </p:grpSpPr>
        <p:sp>
          <p:nvSpPr>
            <p:cNvPr id="4" name="Freihandform: Form 3">
              <a:extLst>
                <a:ext uri="{FF2B5EF4-FFF2-40B4-BE49-F238E27FC236}">
                  <a16:creationId xmlns:a16="http://schemas.microsoft.com/office/drawing/2014/main" id="{160B89EF-8914-B13B-4482-5E94B33372A8}"/>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3"/>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5" name="Freihandform: Form 4">
              <a:extLst>
                <a:ext uri="{FF2B5EF4-FFF2-40B4-BE49-F238E27FC236}">
                  <a16:creationId xmlns:a16="http://schemas.microsoft.com/office/drawing/2014/main" id="{B18E62FD-DA48-4EA0-6453-5AA40B45EF94}"/>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6" name="Freihandform: Form 5">
              <a:extLst>
                <a:ext uri="{FF2B5EF4-FFF2-40B4-BE49-F238E27FC236}">
                  <a16:creationId xmlns:a16="http://schemas.microsoft.com/office/drawing/2014/main" id="{E47395FE-0115-844B-EE1A-B5D9616E7A10}"/>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7" name="Freihandform: Form 6">
              <a:extLst>
                <a:ext uri="{FF2B5EF4-FFF2-40B4-BE49-F238E27FC236}">
                  <a16:creationId xmlns:a16="http://schemas.microsoft.com/office/drawing/2014/main" id="{3EB6AF2C-C9CF-2144-CF7B-A67DA79CC0EC}"/>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1596043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7ABAF0BA-FB68-BA76-C4B9-D8CDE16D67AC}"/>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6" name="Textplatzhalter 5">
            <a:extLst>
              <a:ext uri="{FF2B5EF4-FFF2-40B4-BE49-F238E27FC236}">
                <a16:creationId xmlns:a16="http://schemas.microsoft.com/office/drawing/2014/main" id="{E1BCC97E-097C-3F2F-9EB7-1ADB9090FC6C}"/>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ZWEI SPALTEN</a:t>
            </a:r>
          </a:p>
        </p:txBody>
      </p:sp>
      <p:sp>
        <p:nvSpPr>
          <p:cNvPr id="7" name="Textplatzhalter 6">
            <a:extLst>
              <a:ext uri="{FF2B5EF4-FFF2-40B4-BE49-F238E27FC236}">
                <a16:creationId xmlns:a16="http://schemas.microsoft.com/office/drawing/2014/main" id="{5265447F-3D85-A0C1-8DDD-2553D932956E}"/>
              </a:ext>
            </a:extLst>
          </p:cNvPr>
          <p:cNvSpPr>
            <a:spLocks noGrp="1"/>
          </p:cNvSpPr>
          <p:nvPr>
            <p:ph type="body" sz="quarter" idx="13"/>
          </p:nvPr>
        </p:nvSpPr>
        <p:spPr/>
        <p:txBody>
          <a:bodyPr/>
          <a:lstStyle/>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a:solidFill>
                  <a:schemeClr val="tx1">
                    <a:lumMod val="75000"/>
                    <a:lumOff val="25000"/>
                  </a:schemeClr>
                </a:solidFill>
              </a:rPr>
              <a:t>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p:txBody>
      </p:sp>
      <p:sp>
        <p:nvSpPr>
          <p:cNvPr id="8" name="Textplatzhalter 7">
            <a:extLst>
              <a:ext uri="{FF2B5EF4-FFF2-40B4-BE49-F238E27FC236}">
                <a16:creationId xmlns:a16="http://schemas.microsoft.com/office/drawing/2014/main" id="{59FC9081-32A2-799E-061C-27FB31471F04}"/>
              </a:ext>
            </a:extLst>
          </p:cNvPr>
          <p:cNvSpPr>
            <a:spLocks noGrp="1"/>
          </p:cNvSpPr>
          <p:nvPr>
            <p:ph type="body" sz="quarter" idx="14"/>
          </p:nvPr>
        </p:nvSpPr>
        <p:spPr/>
        <p:txBody>
          <a:bodyPr/>
          <a:lstStyle/>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a:solidFill>
                  <a:schemeClr val="tx1">
                    <a:lumMod val="75000"/>
                    <a:lumOff val="25000"/>
                  </a:schemeClr>
                </a:solidFill>
              </a:rPr>
              <a:t>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p:txBody>
      </p:sp>
      <p:sp>
        <p:nvSpPr>
          <p:cNvPr id="3" name="Foliennummernplatzhalter 5">
            <a:extLst>
              <a:ext uri="{FF2B5EF4-FFF2-40B4-BE49-F238E27FC236}">
                <a16:creationId xmlns:a16="http://schemas.microsoft.com/office/drawing/2014/main" id="{FEC0A18B-851C-A508-E304-6D713B6D5480}"/>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19</a:t>
            </a:fld>
            <a:endParaRPr lang="de-DE" dirty="0"/>
          </a:p>
        </p:txBody>
      </p:sp>
      <p:grpSp>
        <p:nvGrpSpPr>
          <p:cNvPr id="2" name="Grafik 13">
            <a:extLst>
              <a:ext uri="{FF2B5EF4-FFF2-40B4-BE49-F238E27FC236}">
                <a16:creationId xmlns:a16="http://schemas.microsoft.com/office/drawing/2014/main" id="{C13CC5F4-B2BB-C979-3BF7-1F706EA60878}"/>
              </a:ext>
            </a:extLst>
          </p:cNvPr>
          <p:cNvGrpSpPr/>
          <p:nvPr/>
        </p:nvGrpSpPr>
        <p:grpSpPr>
          <a:xfrm>
            <a:off x="10950177" y="410025"/>
            <a:ext cx="465152" cy="539923"/>
            <a:chOff x="10950380" y="410026"/>
            <a:chExt cx="465152" cy="539923"/>
          </a:xfrm>
        </p:grpSpPr>
        <p:sp>
          <p:nvSpPr>
            <p:cNvPr id="4" name="Freihandform: Form 3">
              <a:extLst>
                <a:ext uri="{FF2B5EF4-FFF2-40B4-BE49-F238E27FC236}">
                  <a16:creationId xmlns:a16="http://schemas.microsoft.com/office/drawing/2014/main" id="{9C41748D-263B-CF80-0C71-2CDF9F501CBF}"/>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3"/>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0" name="Freihandform: Form 9">
              <a:extLst>
                <a:ext uri="{FF2B5EF4-FFF2-40B4-BE49-F238E27FC236}">
                  <a16:creationId xmlns:a16="http://schemas.microsoft.com/office/drawing/2014/main" id="{D191999D-BC7F-7DF4-C632-67C8196D318C}"/>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1" name="Freihandform: Form 10">
              <a:extLst>
                <a:ext uri="{FF2B5EF4-FFF2-40B4-BE49-F238E27FC236}">
                  <a16:creationId xmlns:a16="http://schemas.microsoft.com/office/drawing/2014/main" id="{02357303-32A7-02E2-8EB0-A2108916B6DE}"/>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2" name="Freihandform: Form 11">
              <a:extLst>
                <a:ext uri="{FF2B5EF4-FFF2-40B4-BE49-F238E27FC236}">
                  <a16:creationId xmlns:a16="http://schemas.microsoft.com/office/drawing/2014/main" id="{9D657A44-2DD9-12F5-0DEE-7CF74DF82E5B}"/>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1157254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Sexualisierte_Inhalte_LowBitrate">
            <a:hlinkClick r:id="" action="ppaction://media"/>
          </p:cNvPr>
          <p:cNvPicPr>
            <a:picLocks noGrp="1" noChangeAspect="1"/>
          </p:cNvPicPr>
          <p:nvPr>
            <p:ph sz="quarter" idx="11"/>
            <a:videoFile r:link="rId1"/>
            <p:extLst>
              <p:ext uri="{DAA4B4D4-6D71-4841-9C94-3DE7FCFB9230}">
                <p14:media xmlns:p14="http://schemas.microsoft.com/office/powerpoint/2010/main" r:embed="rId2">
                  <p14:trim st="1902"/>
                </p14:media>
              </p:ext>
            </p:extLst>
          </p:nvPr>
        </p:nvPicPr>
        <p:blipFill>
          <a:blip r:embed="rId5"/>
          <a:stretch>
            <a:fillRect/>
          </a:stretch>
        </p:blipFill>
        <p:spPr>
          <a:xfrm>
            <a:off x="811213" y="2160588"/>
            <a:ext cx="6492875" cy="3652837"/>
          </a:xfrm>
        </p:spPr>
      </p:pic>
      <p:sp>
        <p:nvSpPr>
          <p:cNvPr id="10" name="Textplatzhalter 9">
            <a:extLst>
              <a:ext uri="{FF2B5EF4-FFF2-40B4-BE49-F238E27FC236}">
                <a16:creationId xmlns:a16="http://schemas.microsoft.com/office/drawing/2014/main" id="{730B6E11-14E0-4862-509E-5F1D2DDE8C6E}"/>
              </a:ext>
            </a:extLst>
          </p:cNvPr>
          <p:cNvSpPr>
            <a:spLocks noGrp="1" noRot="1" noMove="1" noResize="1" noEditPoints="1" noAdjustHandles="1" noChangeArrowheads="1" noChangeShapeType="1"/>
          </p:cNvSpPr>
          <p:nvPr>
            <p:ph type="body" sz="quarter" idx="13"/>
          </p:nvPr>
        </p:nvSpPr>
        <p:spPr/>
        <p:txBody>
          <a:bodyPr/>
          <a:lstStyle/>
          <a:p>
            <a:endParaRPr lang="de-DE" dirty="0"/>
          </a:p>
        </p:txBody>
      </p:sp>
      <p:sp>
        <p:nvSpPr>
          <p:cNvPr id="9" name="Textplatzhalter 8">
            <a:extLst>
              <a:ext uri="{FF2B5EF4-FFF2-40B4-BE49-F238E27FC236}">
                <a16:creationId xmlns:a16="http://schemas.microsoft.com/office/drawing/2014/main" id="{2211AA3C-E3AD-E505-27AF-86BB6349AD56}"/>
              </a:ext>
            </a:extLst>
          </p:cNvPr>
          <p:cNvSpPr>
            <a:spLocks noGrp="1" noRot="1" noMove="1" noResize="1" noEditPoints="1" noAdjustHandles="1" noChangeArrowheads="1" noChangeShapeType="1"/>
          </p:cNvSpPr>
          <p:nvPr>
            <p:ph type="body" sz="quarter" idx="12"/>
          </p:nvPr>
        </p:nvSpPr>
        <p:spPr/>
        <p:txBody>
          <a:bodyPr/>
          <a:lstStyle/>
          <a:p>
            <a:endParaRPr lang="de-DE" dirty="0"/>
          </a:p>
        </p:txBody>
      </p:sp>
      <p:sp>
        <p:nvSpPr>
          <p:cNvPr id="7" name="Textplatzhalter 6">
            <a:extLst>
              <a:ext uri="{FF2B5EF4-FFF2-40B4-BE49-F238E27FC236}">
                <a16:creationId xmlns:a16="http://schemas.microsoft.com/office/drawing/2014/main" id="{9BFB8A08-C38B-0A83-95D9-58BCD10E9CFA}"/>
              </a:ext>
            </a:extLst>
          </p:cNvPr>
          <p:cNvSpPr>
            <a:spLocks noGrp="1"/>
          </p:cNvSpPr>
          <p:nvPr>
            <p:ph type="body" sz="quarter" idx="10"/>
          </p:nvPr>
        </p:nvSpPr>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11" name="Textplatzhalter 10">
            <a:extLst>
              <a:ext uri="{FF2B5EF4-FFF2-40B4-BE49-F238E27FC236}">
                <a16:creationId xmlns:a16="http://schemas.microsoft.com/office/drawing/2014/main" id="{838CD12B-D741-1487-F710-753EA4CAEBDE}"/>
              </a:ext>
            </a:extLst>
          </p:cNvPr>
          <p:cNvSpPr>
            <a:spLocks noGrp="1"/>
          </p:cNvSpPr>
          <p:nvPr>
            <p:ph type="body" sz="quarter" idx="14"/>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EINSTIEG INS THEMA </a:t>
            </a:r>
          </a:p>
        </p:txBody>
      </p:sp>
      <p:pic>
        <p:nvPicPr>
          <p:cNvPr id="12" name="Grafik 11">
            <a:extLst>
              <a:ext uri="{FF2B5EF4-FFF2-40B4-BE49-F238E27FC236}">
                <a16:creationId xmlns:a16="http://schemas.microsoft.com/office/drawing/2014/main" id="{2C4ACC23-EC0E-9D4E-2029-46ECFF91F623}"/>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10929388" y="424079"/>
            <a:ext cx="540000" cy="518704"/>
          </a:xfrm>
          <a:prstGeom prst="rect">
            <a:avLst/>
          </a:prstGeom>
        </p:spPr>
      </p:pic>
      <p:sp>
        <p:nvSpPr>
          <p:cNvPr id="2" name="Foliennummernplatzhalter 5">
            <a:extLst>
              <a:ext uri="{FF2B5EF4-FFF2-40B4-BE49-F238E27FC236}">
                <a16:creationId xmlns:a16="http://schemas.microsoft.com/office/drawing/2014/main" id="{C00B7DF2-D056-D102-0B30-40F6C43A0F52}"/>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2"/>
                </a:solidFill>
              </a:rPr>
              <a:pPr/>
              <a:t>2</a:t>
            </a:fld>
            <a:endParaRPr lang="de-DE" dirty="0">
              <a:solidFill>
                <a:schemeClr val="accent2"/>
              </a:solidFill>
            </a:endParaRPr>
          </a:p>
        </p:txBody>
      </p:sp>
    </p:spTree>
    <p:extLst>
      <p:ext uri="{BB962C8B-B14F-4D97-AF65-F5344CB8AC3E}">
        <p14:creationId xmlns:p14="http://schemas.microsoft.com/office/powerpoint/2010/main" val="1676323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restart="whenNotActive" fill="hold" evtFilter="cancelBubble" nodeType="interactiveSeq">
                <p:stCondLst>
                  <p:cond evt="onClick" delay="0">
                    <p:tgtEl>
                      <p:spTgt spid="3"/>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3"/>
                                        </p:tgtEl>
                                      </p:cBhvr>
                                    </p:cmd>
                                  </p:childTnLst>
                                </p:cTn>
                              </p:par>
                            </p:childTnLst>
                          </p:cTn>
                        </p:par>
                      </p:childTnLst>
                    </p:cTn>
                  </p:par>
                </p:childTnLst>
              </p:cTn>
              <p:nextCondLst>
                <p:cond evt="onClick" delay="0">
                  <p:tgtEl>
                    <p:spTgt spid="3"/>
                  </p:tgtEl>
                </p:cond>
              </p:nextCondLst>
            </p:seq>
            <p:video fullScrn="1">
              <p:cMediaNode vol="80000">
                <p:cTn id="7" fill="hold" display="0">
                  <p:stCondLst>
                    <p:cond delay="indefinite"/>
                  </p:stCondLst>
                </p:cTn>
                <p:tgtEl>
                  <p:spTgt spid="3"/>
                </p:tgtEl>
              </p:cMediaNode>
            </p:video>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E90A5C7A-78F7-66FC-B731-FC54DBCE1C75}"/>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7" name="Textplatzhalter 6">
            <a:extLst>
              <a:ext uri="{FF2B5EF4-FFF2-40B4-BE49-F238E27FC236}">
                <a16:creationId xmlns:a16="http://schemas.microsoft.com/office/drawing/2014/main" id="{F8B0382D-2384-7B11-C513-5D1589BD9803}"/>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TABELLE</a:t>
            </a:r>
          </a:p>
        </p:txBody>
      </p:sp>
      <p:graphicFrame>
        <p:nvGraphicFramePr>
          <p:cNvPr id="16" name="Tabelle 15">
            <a:extLst>
              <a:ext uri="{FF2B5EF4-FFF2-40B4-BE49-F238E27FC236}">
                <a16:creationId xmlns:a16="http://schemas.microsoft.com/office/drawing/2014/main" id="{19D8091E-0861-5444-AEFB-E364F231C179}"/>
              </a:ext>
            </a:extLst>
          </p:cNvPr>
          <p:cNvGraphicFramePr>
            <a:graphicFrameLocks noGrp="1"/>
          </p:cNvGraphicFramePr>
          <p:nvPr>
            <p:extLst>
              <p:ext uri="{D42A27DB-BD31-4B8C-83A1-F6EECF244321}">
                <p14:modId xmlns:p14="http://schemas.microsoft.com/office/powerpoint/2010/main" val="77974052"/>
              </p:ext>
            </p:extLst>
          </p:nvPr>
        </p:nvGraphicFramePr>
        <p:xfrm>
          <a:off x="550863" y="1665287"/>
          <a:ext cx="11090274" cy="4643436"/>
        </p:xfrm>
        <a:graphic>
          <a:graphicData uri="http://schemas.openxmlformats.org/drawingml/2006/table">
            <a:tbl>
              <a:tblPr firstRow="1" bandRow="1">
                <a:tableStyleId>{5C22544A-7EE6-4342-B048-85BDC9FD1C3A}</a:tableStyleId>
              </a:tblPr>
              <a:tblGrid>
                <a:gridCol w="1848379">
                  <a:extLst>
                    <a:ext uri="{9D8B030D-6E8A-4147-A177-3AD203B41FA5}">
                      <a16:colId xmlns:a16="http://schemas.microsoft.com/office/drawing/2014/main" val="270408585"/>
                    </a:ext>
                  </a:extLst>
                </a:gridCol>
                <a:gridCol w="1848379">
                  <a:extLst>
                    <a:ext uri="{9D8B030D-6E8A-4147-A177-3AD203B41FA5}">
                      <a16:colId xmlns:a16="http://schemas.microsoft.com/office/drawing/2014/main" val="1714070741"/>
                    </a:ext>
                  </a:extLst>
                </a:gridCol>
                <a:gridCol w="1848379">
                  <a:extLst>
                    <a:ext uri="{9D8B030D-6E8A-4147-A177-3AD203B41FA5}">
                      <a16:colId xmlns:a16="http://schemas.microsoft.com/office/drawing/2014/main" val="1815016226"/>
                    </a:ext>
                  </a:extLst>
                </a:gridCol>
                <a:gridCol w="1848379">
                  <a:extLst>
                    <a:ext uri="{9D8B030D-6E8A-4147-A177-3AD203B41FA5}">
                      <a16:colId xmlns:a16="http://schemas.microsoft.com/office/drawing/2014/main" val="2990763333"/>
                    </a:ext>
                  </a:extLst>
                </a:gridCol>
                <a:gridCol w="1848379">
                  <a:extLst>
                    <a:ext uri="{9D8B030D-6E8A-4147-A177-3AD203B41FA5}">
                      <a16:colId xmlns:a16="http://schemas.microsoft.com/office/drawing/2014/main" val="358196774"/>
                    </a:ext>
                  </a:extLst>
                </a:gridCol>
                <a:gridCol w="1848379">
                  <a:extLst>
                    <a:ext uri="{9D8B030D-6E8A-4147-A177-3AD203B41FA5}">
                      <a16:colId xmlns:a16="http://schemas.microsoft.com/office/drawing/2014/main" val="3970185505"/>
                    </a:ext>
                  </a:extLst>
                </a:gridCol>
              </a:tblGrid>
              <a:tr h="432975">
                <a:tc>
                  <a:txBody>
                    <a:bodyPr/>
                    <a:lstStyle/>
                    <a:p>
                      <a:r>
                        <a:rPr lang="de-DE" sz="1600" spc="100" baseline="0" dirty="0">
                          <a:solidFill>
                            <a:schemeClr val="accent3"/>
                          </a:solidFill>
                        </a:rPr>
                        <a:t>LOREM IPSUM </a:t>
                      </a:r>
                      <a:endParaRPr lang="de-DE" sz="1600" baseline="0" dirty="0">
                        <a:solidFill>
                          <a:schemeClr val="accent3"/>
                        </a:solidFill>
                      </a:endParaRPr>
                    </a:p>
                  </a:txBody>
                  <a:tcPr marL="72000" marR="72000" marT="0" marB="0" anchor="ctr">
                    <a:lnR w="9525" cap="flat" cmpd="sng" algn="ctr">
                      <a:solidFill>
                        <a:schemeClr val="bg1">
                          <a:lumMod val="75000"/>
                        </a:schemeClr>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3"/>
                          </a:solidFill>
                        </a:rPr>
                        <a:t>LOREM IPSUM </a:t>
                      </a:r>
                      <a:endParaRPr lang="de-DE" sz="1600" baseline="0" dirty="0">
                        <a:solidFill>
                          <a:schemeClr val="accent3"/>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3"/>
                          </a:solidFill>
                        </a:rPr>
                        <a:t>LOREM IPSUM </a:t>
                      </a:r>
                      <a:endParaRPr lang="de-DE" sz="1600" baseline="0" dirty="0">
                        <a:solidFill>
                          <a:schemeClr val="accent3"/>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3"/>
                          </a:solidFill>
                        </a:rPr>
                        <a:t>LOREM IPSUM </a:t>
                      </a:r>
                      <a:endParaRPr lang="de-DE" sz="1600" baseline="0" dirty="0">
                        <a:solidFill>
                          <a:schemeClr val="accent3"/>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3"/>
                          </a:solidFill>
                        </a:rPr>
                        <a:t>LOREM IPSUM </a:t>
                      </a:r>
                      <a:endParaRPr lang="de-DE" sz="1600" baseline="0" dirty="0">
                        <a:solidFill>
                          <a:schemeClr val="accent3"/>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3"/>
                          </a:solidFill>
                        </a:rPr>
                        <a:t>LOREM IPSUM </a:t>
                      </a:r>
                      <a:endParaRPr lang="de-DE" sz="1600" baseline="0" dirty="0">
                        <a:solidFill>
                          <a:schemeClr val="accent3"/>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3249918172"/>
                  </a:ext>
                </a:extLst>
              </a:tr>
              <a:tr h="467829">
                <a:tc>
                  <a:txBody>
                    <a:bodyPr/>
                    <a:lstStyle/>
                    <a:p>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12700" cap="flat" cmpd="sng" algn="ctr">
                      <a:solidFill>
                        <a:schemeClr val="accent3"/>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96464746"/>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2428172"/>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011263124"/>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6365629"/>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22961373"/>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28925937"/>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83021149"/>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34807973"/>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69548227"/>
                  </a:ext>
                </a:extLst>
              </a:tr>
            </a:tbl>
          </a:graphicData>
        </a:graphic>
      </p:graphicFrame>
      <p:sp>
        <p:nvSpPr>
          <p:cNvPr id="3" name="Foliennummernplatzhalter 5">
            <a:extLst>
              <a:ext uri="{FF2B5EF4-FFF2-40B4-BE49-F238E27FC236}">
                <a16:creationId xmlns:a16="http://schemas.microsoft.com/office/drawing/2014/main" id="{66126AA9-671A-7DFA-EBA8-5F4E5E760D9C}"/>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20</a:t>
            </a:fld>
            <a:endParaRPr lang="de-DE" dirty="0"/>
          </a:p>
        </p:txBody>
      </p:sp>
      <p:grpSp>
        <p:nvGrpSpPr>
          <p:cNvPr id="2" name="Grafik 13">
            <a:extLst>
              <a:ext uri="{FF2B5EF4-FFF2-40B4-BE49-F238E27FC236}">
                <a16:creationId xmlns:a16="http://schemas.microsoft.com/office/drawing/2014/main" id="{5A218718-99B6-C4ED-C57A-865C1966D58F}"/>
              </a:ext>
            </a:extLst>
          </p:cNvPr>
          <p:cNvGrpSpPr/>
          <p:nvPr/>
        </p:nvGrpSpPr>
        <p:grpSpPr>
          <a:xfrm>
            <a:off x="10950177" y="410025"/>
            <a:ext cx="465152" cy="539923"/>
            <a:chOff x="10950380" y="410026"/>
            <a:chExt cx="465152" cy="539923"/>
          </a:xfrm>
        </p:grpSpPr>
        <p:sp>
          <p:nvSpPr>
            <p:cNvPr id="4" name="Freihandform: Form 3">
              <a:extLst>
                <a:ext uri="{FF2B5EF4-FFF2-40B4-BE49-F238E27FC236}">
                  <a16:creationId xmlns:a16="http://schemas.microsoft.com/office/drawing/2014/main" id="{5B62A641-7AF7-9F5F-80E8-AC0AC32240AA}"/>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3"/>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5" name="Freihandform: Form 4">
              <a:extLst>
                <a:ext uri="{FF2B5EF4-FFF2-40B4-BE49-F238E27FC236}">
                  <a16:creationId xmlns:a16="http://schemas.microsoft.com/office/drawing/2014/main" id="{B015DFD6-7206-EDC1-4951-FC8D70C830E0}"/>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9" name="Freihandform: Form 8">
              <a:extLst>
                <a:ext uri="{FF2B5EF4-FFF2-40B4-BE49-F238E27FC236}">
                  <a16:creationId xmlns:a16="http://schemas.microsoft.com/office/drawing/2014/main" id="{C153BEB0-6871-6C2B-551F-4DB2BD352433}"/>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0" name="Freihandform: Form 9">
              <a:extLst>
                <a:ext uri="{FF2B5EF4-FFF2-40B4-BE49-F238E27FC236}">
                  <a16:creationId xmlns:a16="http://schemas.microsoft.com/office/drawing/2014/main" id="{E73B1412-BBF7-C60B-1FD8-C3BE57AB8FE3}"/>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3326320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9532B0E2-A403-EBF4-2253-A609BB61AB92}"/>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3" name="Textplatzhalter 2">
            <a:extLst>
              <a:ext uri="{FF2B5EF4-FFF2-40B4-BE49-F238E27FC236}">
                <a16:creationId xmlns:a16="http://schemas.microsoft.com/office/drawing/2014/main" id="{58A82E73-B692-69A8-5EAB-65ABFF43CCE0}"/>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DIAGRAMM</a:t>
            </a:r>
          </a:p>
        </p:txBody>
      </p:sp>
      <p:sp>
        <p:nvSpPr>
          <p:cNvPr id="4" name="Textplatzhalter 3">
            <a:extLst>
              <a:ext uri="{FF2B5EF4-FFF2-40B4-BE49-F238E27FC236}">
                <a16:creationId xmlns:a16="http://schemas.microsoft.com/office/drawing/2014/main" id="{CB918278-5D7F-204B-90C5-237FB580277E}"/>
              </a:ext>
            </a:extLst>
          </p:cNvPr>
          <p:cNvSpPr>
            <a:spLocks noGrp="1" noRot="1" noMove="1" noResize="1" noEditPoints="1" noAdjustHandles="1" noChangeArrowheads="1" noChangeShapeType="1"/>
          </p:cNvSpPr>
          <p:nvPr>
            <p:ph type="body" sz="quarter" idx="13"/>
          </p:nvPr>
        </p:nvSpPr>
        <p:spPr/>
        <p:txBody>
          <a:bodyPr/>
          <a:lstStyle/>
          <a:p>
            <a:pPr marL="269875" indent="-269875">
              <a:lnSpc>
                <a:spcPct val="110000"/>
              </a:lnSpc>
              <a:spcBef>
                <a:spcPts val="1000"/>
              </a:spcBef>
              <a:buFont typeface="Arial" panose="020B0604020202020204" pitchFamily="34" charset="0"/>
              <a:buChar char="•"/>
            </a:pP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consetetur</a:t>
            </a:r>
            <a:r>
              <a:rPr lang="de-DE" sz="1400" dirty="0">
                <a:solidFill>
                  <a:schemeClr val="tx1">
                    <a:lumMod val="75000"/>
                    <a:lumOff val="25000"/>
                  </a:schemeClr>
                </a:solidFill>
              </a:rPr>
              <a:t> </a:t>
            </a:r>
            <a:r>
              <a:rPr lang="de-DE" sz="1400" dirty="0" err="1">
                <a:solidFill>
                  <a:schemeClr val="tx1">
                    <a:lumMod val="75000"/>
                    <a:lumOff val="25000"/>
                  </a:schemeClr>
                </a:solidFill>
              </a:rPr>
              <a:t>sadipscing</a:t>
            </a:r>
            <a:r>
              <a:rPr lang="de-DE" sz="1400" dirty="0">
                <a:solidFill>
                  <a:schemeClr val="tx1">
                    <a:lumMod val="75000"/>
                    <a:lumOff val="25000"/>
                  </a:schemeClr>
                </a:solidFill>
              </a:rPr>
              <a:t> </a:t>
            </a:r>
            <a:r>
              <a:rPr lang="de-DE" sz="1400" dirty="0" err="1">
                <a:solidFill>
                  <a:schemeClr val="tx1">
                    <a:lumMod val="75000"/>
                    <a:lumOff val="25000"/>
                  </a:schemeClr>
                </a:solidFill>
              </a:rPr>
              <a:t>elitr</a:t>
            </a:r>
            <a:r>
              <a:rPr lang="de-DE" sz="1400" dirty="0">
                <a:solidFill>
                  <a:schemeClr val="tx1">
                    <a:lumMod val="75000"/>
                    <a:lumOff val="25000"/>
                  </a:schemeClr>
                </a:solidFill>
              </a:rPr>
              <a:t>, sed </a:t>
            </a:r>
            <a:r>
              <a:rPr lang="de-DE" sz="1400" dirty="0" err="1">
                <a:solidFill>
                  <a:schemeClr val="tx1">
                    <a:lumMod val="75000"/>
                    <a:lumOff val="25000"/>
                  </a:schemeClr>
                </a:solidFill>
              </a:rPr>
              <a:t>diam</a:t>
            </a:r>
            <a:r>
              <a:rPr lang="de-DE" sz="1400" dirty="0">
                <a:solidFill>
                  <a:schemeClr val="tx1">
                    <a:lumMod val="75000"/>
                    <a:lumOff val="25000"/>
                  </a:schemeClr>
                </a:solidFill>
              </a:rPr>
              <a:t> </a:t>
            </a:r>
            <a:r>
              <a:rPr lang="de-DE" sz="1400" dirty="0" err="1">
                <a:solidFill>
                  <a:schemeClr val="tx1">
                    <a:lumMod val="75000"/>
                    <a:lumOff val="25000"/>
                  </a:schemeClr>
                </a:solidFill>
              </a:rPr>
              <a:t>nonumy</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r>
              <a:rPr lang="de-DE" sz="1400" dirty="0" err="1">
                <a:solidFill>
                  <a:schemeClr val="tx1">
                    <a:lumMod val="75000"/>
                    <a:lumOff val="25000"/>
                  </a:schemeClr>
                </a:solidFill>
              </a:rPr>
              <a:t>invidunt</a:t>
            </a:r>
            <a:r>
              <a:rPr lang="de-DE" sz="1400" dirty="0">
                <a:solidFill>
                  <a:schemeClr val="tx1">
                    <a:lumMod val="75000"/>
                    <a:lumOff val="25000"/>
                  </a:schemeClr>
                </a:solidFill>
              </a:rPr>
              <a:t> </a:t>
            </a:r>
            <a:r>
              <a:rPr lang="de-DE" sz="1400" dirty="0" err="1">
                <a:solidFill>
                  <a:schemeClr val="tx1">
                    <a:lumMod val="75000"/>
                    <a:lumOff val="25000"/>
                  </a:schemeClr>
                </a:solidFill>
              </a:rPr>
              <a:t>ut</a:t>
            </a:r>
            <a:r>
              <a:rPr lang="de-DE" sz="1400" dirty="0">
                <a:solidFill>
                  <a:schemeClr val="tx1">
                    <a:lumMod val="75000"/>
                    <a:lumOff val="25000"/>
                  </a:schemeClr>
                </a:solidFill>
              </a:rPr>
              <a:t> </a:t>
            </a:r>
            <a:r>
              <a:rPr lang="de-DE" sz="1400" dirty="0" err="1">
                <a:solidFill>
                  <a:schemeClr val="tx1">
                    <a:lumMod val="75000"/>
                    <a:lumOff val="25000"/>
                  </a:schemeClr>
                </a:solidFill>
              </a:rPr>
              <a:t>labore</a:t>
            </a:r>
            <a:r>
              <a:rPr lang="de-DE" sz="1400" dirty="0">
                <a:solidFill>
                  <a:schemeClr val="tx1">
                    <a:lumMod val="75000"/>
                    <a:lumOff val="25000"/>
                  </a:schemeClr>
                </a:solidFill>
              </a:rPr>
              <a:t> </a:t>
            </a:r>
            <a:r>
              <a:rPr lang="de-DE" sz="1400" dirty="0" err="1">
                <a:solidFill>
                  <a:schemeClr val="tx1">
                    <a:lumMod val="75000"/>
                    <a:lumOff val="25000"/>
                  </a:schemeClr>
                </a:solidFill>
              </a:rPr>
              <a:t>lore</a:t>
            </a:r>
            <a:r>
              <a:rPr lang="de-DE" sz="14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1400" dirty="0">
                <a:solidFill>
                  <a:schemeClr val="tx1">
                    <a:lumMod val="75000"/>
                    <a:lumOff val="25000"/>
                  </a:schemeClr>
                </a:solidFill>
              </a:rPr>
              <a:t>Magna </a:t>
            </a:r>
            <a:r>
              <a:rPr lang="de-DE" sz="1400" dirty="0" err="1">
                <a:solidFill>
                  <a:schemeClr val="tx1">
                    <a:lumMod val="75000"/>
                    <a:lumOff val="25000"/>
                  </a:schemeClr>
                </a:solidFill>
              </a:rPr>
              <a:t>aliquyam</a:t>
            </a:r>
            <a:r>
              <a:rPr lang="de-DE" sz="1400" dirty="0">
                <a:solidFill>
                  <a:schemeClr val="tx1">
                    <a:lumMod val="75000"/>
                    <a:lumOff val="25000"/>
                  </a:schemeClr>
                </a:solidFill>
              </a:rPr>
              <a:t> erat, sed </a:t>
            </a:r>
            <a:r>
              <a:rPr lang="de-DE" sz="1400" dirty="0" err="1">
                <a:solidFill>
                  <a:schemeClr val="tx1">
                    <a:lumMod val="75000"/>
                    <a:lumOff val="25000"/>
                  </a:schemeClr>
                </a:solidFill>
              </a:rPr>
              <a:t>diam</a:t>
            </a:r>
            <a:r>
              <a:rPr lang="de-DE" sz="1400" dirty="0">
                <a:solidFill>
                  <a:schemeClr val="tx1">
                    <a:lumMod val="75000"/>
                    <a:lumOff val="25000"/>
                  </a:schemeClr>
                </a:solidFill>
              </a:rPr>
              <a:t>. At </a:t>
            </a:r>
            <a:r>
              <a:rPr lang="de-DE" sz="1400" dirty="0" err="1">
                <a:solidFill>
                  <a:schemeClr val="tx1">
                    <a:lumMod val="75000"/>
                    <a:lumOff val="25000"/>
                  </a:schemeClr>
                </a:solidFill>
              </a:rPr>
              <a:t>vero</a:t>
            </a:r>
            <a:r>
              <a:rPr lang="de-DE" sz="1400" dirty="0">
                <a:solidFill>
                  <a:schemeClr val="tx1">
                    <a:lumMod val="75000"/>
                    <a:lumOff val="25000"/>
                  </a:schemeClr>
                </a:solidFill>
              </a:rPr>
              <a:t> </a:t>
            </a:r>
            <a:r>
              <a:rPr lang="de-DE" sz="1400" dirty="0" err="1">
                <a:solidFill>
                  <a:schemeClr val="tx1">
                    <a:lumMod val="75000"/>
                    <a:lumOff val="25000"/>
                  </a:schemeClr>
                </a:solidFill>
              </a:rPr>
              <a:t>eos</a:t>
            </a:r>
            <a:r>
              <a:rPr lang="de-DE" sz="1400" dirty="0">
                <a:solidFill>
                  <a:schemeClr val="tx1">
                    <a:lumMod val="75000"/>
                    <a:lumOff val="25000"/>
                  </a:schemeClr>
                </a:solidFill>
              </a:rPr>
              <a:t> </a:t>
            </a:r>
            <a:br>
              <a:rPr lang="de-DE" sz="1400" dirty="0">
                <a:solidFill>
                  <a:schemeClr val="tx1">
                    <a:lumMod val="75000"/>
                    <a:lumOff val="25000"/>
                  </a:schemeClr>
                </a:solidFill>
              </a:rPr>
            </a:br>
            <a:r>
              <a:rPr lang="de-DE" sz="1400" dirty="0">
                <a:solidFill>
                  <a:schemeClr val="tx1">
                    <a:lumMod val="75000"/>
                    <a:lumOff val="25000"/>
                  </a:schemeClr>
                </a:solidFill>
              </a:rPr>
              <a:t>et </a:t>
            </a:r>
            <a:r>
              <a:rPr lang="de-DE" sz="1400" dirty="0" err="1">
                <a:solidFill>
                  <a:schemeClr val="tx1">
                    <a:lumMod val="75000"/>
                    <a:lumOff val="25000"/>
                  </a:schemeClr>
                </a:solidFill>
              </a:rPr>
              <a:t>accusam</a:t>
            </a:r>
            <a:r>
              <a:rPr lang="de-DE" sz="1400" dirty="0">
                <a:solidFill>
                  <a:schemeClr val="tx1">
                    <a:lumMod val="75000"/>
                    <a:lumOff val="25000"/>
                  </a:schemeClr>
                </a:solidFill>
              </a:rPr>
              <a:t> et </a:t>
            </a:r>
            <a:r>
              <a:rPr lang="de-DE" sz="1400" dirty="0" err="1">
                <a:solidFill>
                  <a:schemeClr val="tx1">
                    <a:lumMod val="75000"/>
                    <a:lumOff val="25000"/>
                  </a:schemeClr>
                </a:solidFill>
              </a:rPr>
              <a:t>justo</a:t>
            </a:r>
            <a:r>
              <a:rPr lang="de-DE" sz="1400" dirty="0">
                <a:solidFill>
                  <a:schemeClr val="tx1">
                    <a:lumMod val="75000"/>
                    <a:lumOff val="25000"/>
                  </a:schemeClr>
                </a:solidFill>
              </a:rPr>
              <a:t> </a:t>
            </a:r>
            <a:r>
              <a:rPr lang="de-DE" sz="1400" dirty="0" err="1">
                <a:solidFill>
                  <a:schemeClr val="tx1">
                    <a:lumMod val="75000"/>
                    <a:lumOff val="25000"/>
                  </a:schemeClr>
                </a:solidFill>
              </a:rPr>
              <a:t>duo</a:t>
            </a:r>
            <a:r>
              <a:rPr lang="de-DE" sz="1400" dirty="0">
                <a:solidFill>
                  <a:schemeClr val="tx1">
                    <a:lumMod val="75000"/>
                    <a:lumOff val="25000"/>
                  </a:schemeClr>
                </a:solidFill>
              </a:rPr>
              <a:t> </a:t>
            </a:r>
            <a:r>
              <a:rPr lang="de-DE" sz="1400" dirty="0" err="1">
                <a:solidFill>
                  <a:schemeClr val="tx1">
                    <a:lumMod val="75000"/>
                    <a:lumOff val="25000"/>
                  </a:schemeClr>
                </a:solidFill>
              </a:rPr>
              <a:t>dolores</a:t>
            </a:r>
            <a:r>
              <a:rPr lang="de-DE" sz="1400" dirty="0">
                <a:solidFill>
                  <a:schemeClr val="tx1">
                    <a:lumMod val="75000"/>
                    <a:lumOff val="25000"/>
                  </a:schemeClr>
                </a:solidFill>
              </a:rPr>
              <a:t> et </a:t>
            </a:r>
            <a:r>
              <a:rPr lang="de-DE" sz="1400" dirty="0" err="1">
                <a:solidFill>
                  <a:schemeClr val="tx1">
                    <a:lumMod val="75000"/>
                    <a:lumOff val="25000"/>
                  </a:schemeClr>
                </a:solidFill>
              </a:rPr>
              <a:t>ea</a:t>
            </a:r>
            <a:r>
              <a:rPr lang="de-DE" sz="1400" dirty="0">
                <a:solidFill>
                  <a:schemeClr val="tx1">
                    <a:lumMod val="75000"/>
                    <a:lumOff val="25000"/>
                  </a:schemeClr>
                </a:solidFill>
              </a:rPr>
              <a:t> </a:t>
            </a:r>
            <a:r>
              <a:rPr lang="de-DE" sz="1400" dirty="0" err="1">
                <a:solidFill>
                  <a:schemeClr val="tx1">
                    <a:lumMod val="75000"/>
                    <a:lumOff val="25000"/>
                  </a:schemeClr>
                </a:solidFill>
              </a:rPr>
              <a:t>rebum</a:t>
            </a:r>
            <a:r>
              <a:rPr lang="de-DE" sz="1400" dirty="0">
                <a:solidFill>
                  <a:schemeClr val="tx1">
                    <a:lumMod val="75000"/>
                    <a:lumOff val="25000"/>
                  </a:schemeClr>
                </a:solidFill>
              </a:rPr>
              <a:t>. </a:t>
            </a:r>
          </a:p>
          <a:p>
            <a:pPr marL="269875" indent="-269875">
              <a:lnSpc>
                <a:spcPct val="110000"/>
              </a:lnSpc>
              <a:spcBef>
                <a:spcPts val="1000"/>
              </a:spcBef>
              <a:buFont typeface="Arial" panose="020B0604020202020204" pitchFamily="34" charset="0"/>
              <a:buChar char="•"/>
            </a:pPr>
            <a:r>
              <a:rPr lang="de-DE" sz="1400" dirty="0" err="1">
                <a:solidFill>
                  <a:schemeClr val="tx1">
                    <a:lumMod val="75000"/>
                    <a:lumOff val="25000"/>
                  </a:schemeClr>
                </a:solidFill>
              </a:rPr>
              <a:t>Takimata</a:t>
            </a:r>
            <a:r>
              <a:rPr lang="de-DE" sz="1400" dirty="0">
                <a:solidFill>
                  <a:schemeClr val="tx1">
                    <a:lumMod val="75000"/>
                    <a:lumOff val="25000"/>
                  </a:schemeClr>
                </a:solidFill>
              </a:rPr>
              <a:t> sanctus </a:t>
            </a:r>
            <a:r>
              <a:rPr lang="de-DE" sz="1400" dirty="0" err="1">
                <a:solidFill>
                  <a:schemeClr val="tx1">
                    <a:lumMod val="75000"/>
                    <a:lumOff val="25000"/>
                  </a:schemeClr>
                </a:solidFill>
              </a:rPr>
              <a:t>est</a:t>
            </a:r>
            <a:r>
              <a:rPr lang="de-DE" sz="1400" dirty="0">
                <a:solidFill>
                  <a:schemeClr val="tx1">
                    <a:lumMod val="75000"/>
                    <a:lumOff val="25000"/>
                  </a:schemeClr>
                </a:solidFill>
              </a:rPr>
              <a:t> </a:t>
            </a: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r>
              <a:rPr lang="de-DE" sz="1400" dirty="0" err="1">
                <a:solidFill>
                  <a:schemeClr val="tx1">
                    <a:lumMod val="75000"/>
                    <a:lumOff val="25000"/>
                  </a:schemeClr>
                </a:solidFill>
              </a:rPr>
              <a:t>invidunt</a:t>
            </a:r>
            <a:r>
              <a:rPr lang="de-DE" sz="1400" dirty="0">
                <a:solidFill>
                  <a:schemeClr val="tx1">
                    <a:lumMod val="75000"/>
                    <a:lumOff val="25000"/>
                  </a:schemeClr>
                </a:solidFill>
              </a:rPr>
              <a:t> </a:t>
            </a:r>
            <a:r>
              <a:rPr lang="de-DE" sz="1400" dirty="0" err="1">
                <a:solidFill>
                  <a:schemeClr val="tx1">
                    <a:lumMod val="75000"/>
                    <a:lumOff val="25000"/>
                  </a:schemeClr>
                </a:solidFill>
              </a:rPr>
              <a:t>ut</a:t>
            </a:r>
            <a:r>
              <a:rPr lang="de-DE" sz="1400" dirty="0">
                <a:solidFill>
                  <a:schemeClr val="tx1">
                    <a:lumMod val="75000"/>
                    <a:lumOff val="25000"/>
                  </a:schemeClr>
                </a:solidFill>
              </a:rPr>
              <a:t> </a:t>
            </a:r>
            <a:r>
              <a:rPr lang="de-DE" sz="1400" dirty="0" err="1">
                <a:solidFill>
                  <a:schemeClr val="tx1">
                    <a:lumMod val="75000"/>
                    <a:lumOff val="25000"/>
                  </a:schemeClr>
                </a:solidFill>
              </a:rPr>
              <a:t>labore</a:t>
            </a:r>
            <a:r>
              <a:rPr lang="de-DE" sz="1400" dirty="0">
                <a:solidFill>
                  <a:schemeClr val="tx1">
                    <a:lumMod val="75000"/>
                    <a:lumOff val="25000"/>
                  </a:schemeClr>
                </a:solidFill>
              </a:rPr>
              <a:t> et. </a:t>
            </a:r>
          </a:p>
          <a:p>
            <a:pPr marL="269875" indent="-269875">
              <a:lnSpc>
                <a:spcPct val="110000"/>
              </a:lnSpc>
              <a:spcBef>
                <a:spcPts val="1000"/>
              </a:spcBef>
              <a:buFont typeface="Arial" panose="020B0604020202020204" pitchFamily="34" charset="0"/>
              <a:buChar char="•"/>
            </a:pPr>
            <a:r>
              <a:rPr lang="de-DE" sz="1400" dirty="0" err="1">
                <a:solidFill>
                  <a:schemeClr val="tx1">
                    <a:lumMod val="75000"/>
                    <a:lumOff val="25000"/>
                  </a:schemeClr>
                </a:solidFill>
              </a:rPr>
              <a:t>Dolore</a:t>
            </a:r>
            <a:r>
              <a:rPr lang="de-DE" sz="1400" dirty="0">
                <a:solidFill>
                  <a:schemeClr val="tx1">
                    <a:lumMod val="75000"/>
                    <a:lumOff val="25000"/>
                  </a:schemeClr>
                </a:solidFill>
              </a:rPr>
              <a:t> magna </a:t>
            </a:r>
            <a:r>
              <a:rPr lang="de-DE" sz="1400" dirty="0" err="1">
                <a:solidFill>
                  <a:schemeClr val="tx1">
                    <a:lumMod val="75000"/>
                    <a:lumOff val="25000"/>
                  </a:schemeClr>
                </a:solidFill>
              </a:rPr>
              <a:t>aliquyam</a:t>
            </a:r>
            <a:r>
              <a:rPr lang="de-DE" sz="1400" dirty="0">
                <a:solidFill>
                  <a:schemeClr val="tx1">
                    <a:lumMod val="75000"/>
                    <a:lumOff val="25000"/>
                  </a:schemeClr>
                </a:solidFill>
              </a:rPr>
              <a:t> erat, sed </a:t>
            </a:r>
            <a:r>
              <a:rPr lang="de-DE" sz="1400" dirty="0" err="1">
                <a:solidFill>
                  <a:schemeClr val="tx1">
                    <a:lumMod val="75000"/>
                    <a:lumOff val="25000"/>
                  </a:schemeClr>
                </a:solidFill>
              </a:rPr>
              <a:t>diam</a:t>
            </a:r>
            <a:r>
              <a:rPr lang="de-DE" sz="1400" dirty="0">
                <a:solidFill>
                  <a:schemeClr val="tx1">
                    <a:lumMod val="75000"/>
                    <a:lumOff val="25000"/>
                  </a:schemeClr>
                </a:solidFill>
              </a:rPr>
              <a:t> </a:t>
            </a:r>
            <a:r>
              <a:rPr lang="de-DE" sz="1400" dirty="0" err="1">
                <a:solidFill>
                  <a:schemeClr val="tx1">
                    <a:lumMod val="75000"/>
                    <a:lumOff val="25000"/>
                  </a:schemeClr>
                </a:solidFill>
              </a:rPr>
              <a:t>voluptua</a:t>
            </a:r>
            <a:r>
              <a:rPr lang="de-DE" sz="1400" dirty="0">
                <a:solidFill>
                  <a:schemeClr val="tx1">
                    <a:lumMod val="75000"/>
                    <a:lumOff val="25000"/>
                  </a:schemeClr>
                </a:solidFill>
              </a:rPr>
              <a:t>. At </a:t>
            </a:r>
            <a:r>
              <a:rPr lang="de-DE" sz="1400" dirty="0" err="1">
                <a:solidFill>
                  <a:schemeClr val="tx1">
                    <a:lumMod val="75000"/>
                    <a:lumOff val="25000"/>
                  </a:schemeClr>
                </a:solidFill>
              </a:rPr>
              <a:t>vero</a:t>
            </a:r>
            <a:r>
              <a:rPr lang="de-DE" sz="1400" dirty="0">
                <a:solidFill>
                  <a:schemeClr val="tx1">
                    <a:lumMod val="75000"/>
                    <a:lumOff val="25000"/>
                  </a:schemeClr>
                </a:solidFill>
              </a:rPr>
              <a:t> </a:t>
            </a:r>
            <a:r>
              <a:rPr lang="de-DE" sz="1400" dirty="0" err="1">
                <a:solidFill>
                  <a:schemeClr val="tx1">
                    <a:lumMod val="75000"/>
                    <a:lumOff val="25000"/>
                  </a:schemeClr>
                </a:solidFill>
              </a:rPr>
              <a:t>eos</a:t>
            </a:r>
            <a:r>
              <a:rPr lang="de-DE" sz="1400" dirty="0">
                <a:solidFill>
                  <a:schemeClr val="tx1">
                    <a:lumMod val="75000"/>
                    <a:lumOff val="25000"/>
                  </a:schemeClr>
                </a:solidFill>
              </a:rPr>
              <a:t> et </a:t>
            </a:r>
            <a:r>
              <a:rPr lang="de-DE" sz="1400" dirty="0" err="1">
                <a:solidFill>
                  <a:schemeClr val="tx1">
                    <a:lumMod val="75000"/>
                    <a:lumOff val="25000"/>
                  </a:schemeClr>
                </a:solidFill>
              </a:rPr>
              <a:t>accusam</a:t>
            </a:r>
            <a:r>
              <a:rPr lang="de-DE" sz="1400" dirty="0">
                <a:solidFill>
                  <a:schemeClr val="tx1">
                    <a:lumMod val="75000"/>
                    <a:lumOff val="25000"/>
                  </a:schemeClr>
                </a:solidFill>
              </a:rPr>
              <a:t> et </a:t>
            </a:r>
            <a:r>
              <a:rPr lang="de-DE" sz="1400" dirty="0" err="1">
                <a:solidFill>
                  <a:schemeClr val="tx1">
                    <a:lumMod val="75000"/>
                    <a:lumOff val="25000"/>
                  </a:schemeClr>
                </a:solidFill>
              </a:rPr>
              <a:t>justo</a:t>
            </a:r>
            <a:r>
              <a:rPr lang="de-DE" sz="1400" dirty="0">
                <a:solidFill>
                  <a:schemeClr val="tx1">
                    <a:lumMod val="75000"/>
                    <a:lumOff val="25000"/>
                  </a:schemeClr>
                </a:solidFill>
              </a:rPr>
              <a:t> </a:t>
            </a:r>
            <a:r>
              <a:rPr lang="de-DE" sz="1400" dirty="0" err="1">
                <a:solidFill>
                  <a:schemeClr val="tx1">
                    <a:lumMod val="75000"/>
                    <a:lumOff val="25000"/>
                  </a:schemeClr>
                </a:solidFill>
              </a:rPr>
              <a:t>duo</a:t>
            </a:r>
            <a:r>
              <a:rPr lang="de-DE" sz="1400" dirty="0">
                <a:solidFill>
                  <a:schemeClr val="tx1">
                    <a:lumMod val="75000"/>
                    <a:lumOff val="25000"/>
                  </a:schemeClr>
                </a:solidFill>
              </a:rPr>
              <a:t> sanctus </a:t>
            </a:r>
            <a:r>
              <a:rPr lang="de-DE" sz="1400" dirty="0" err="1">
                <a:solidFill>
                  <a:schemeClr val="tx1">
                    <a:lumMod val="75000"/>
                    <a:lumOff val="25000"/>
                  </a:schemeClr>
                </a:solidFill>
              </a:rPr>
              <a:t>est</a:t>
            </a:r>
            <a:r>
              <a:rPr lang="de-DE" sz="1400" dirty="0">
                <a:solidFill>
                  <a:schemeClr val="tx1">
                    <a:lumMod val="75000"/>
                    <a:lumOff val="25000"/>
                  </a:schemeClr>
                </a:solidFill>
              </a:rPr>
              <a:t> </a:t>
            </a: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p>
          <a:p>
            <a:pPr marL="269875" indent="-269875">
              <a:lnSpc>
                <a:spcPct val="110000"/>
              </a:lnSpc>
              <a:spcBef>
                <a:spcPts val="1000"/>
              </a:spcBef>
              <a:buFont typeface="Arial" panose="020B0604020202020204" pitchFamily="34" charset="0"/>
              <a:buChar char="•"/>
            </a:pP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consetetur</a:t>
            </a:r>
            <a:r>
              <a:rPr lang="de-DE" sz="1400" dirty="0">
                <a:solidFill>
                  <a:schemeClr val="tx1">
                    <a:lumMod val="75000"/>
                    <a:lumOff val="25000"/>
                  </a:schemeClr>
                </a:solidFill>
              </a:rPr>
              <a:t> </a:t>
            </a:r>
            <a:r>
              <a:rPr lang="de-DE" sz="1400" dirty="0" err="1">
                <a:solidFill>
                  <a:schemeClr val="tx1">
                    <a:lumMod val="75000"/>
                    <a:lumOff val="25000"/>
                  </a:schemeClr>
                </a:solidFill>
              </a:rPr>
              <a:t>sadipscing</a:t>
            </a:r>
            <a:r>
              <a:rPr lang="de-DE" sz="1400" dirty="0">
                <a:solidFill>
                  <a:schemeClr val="tx1">
                    <a:lumMod val="75000"/>
                    <a:lumOff val="25000"/>
                  </a:schemeClr>
                </a:solidFill>
              </a:rPr>
              <a:t> </a:t>
            </a:r>
            <a:r>
              <a:rPr lang="de-DE" sz="1400" dirty="0" err="1">
                <a:solidFill>
                  <a:schemeClr val="tx1">
                    <a:lumMod val="75000"/>
                    <a:lumOff val="25000"/>
                  </a:schemeClr>
                </a:solidFill>
              </a:rPr>
              <a:t>elitr</a:t>
            </a:r>
            <a:r>
              <a:rPr lang="de-DE" sz="1400" dirty="0">
                <a:solidFill>
                  <a:schemeClr val="tx1">
                    <a:lumMod val="75000"/>
                    <a:lumOff val="25000"/>
                  </a:schemeClr>
                </a:solidFill>
              </a:rPr>
              <a:t>, sed </a:t>
            </a:r>
            <a:r>
              <a:rPr lang="de-DE" sz="1400" dirty="0" err="1">
                <a:solidFill>
                  <a:schemeClr val="tx1">
                    <a:lumMod val="75000"/>
                    <a:lumOff val="25000"/>
                  </a:schemeClr>
                </a:solidFill>
              </a:rPr>
              <a:t>diam</a:t>
            </a:r>
            <a:r>
              <a:rPr lang="de-DE" sz="1400" dirty="0">
                <a:solidFill>
                  <a:schemeClr val="tx1">
                    <a:lumMod val="75000"/>
                    <a:lumOff val="25000"/>
                  </a:schemeClr>
                </a:solidFill>
              </a:rPr>
              <a:t> </a:t>
            </a:r>
            <a:r>
              <a:rPr lang="de-DE" sz="1400" dirty="0" err="1">
                <a:solidFill>
                  <a:schemeClr val="tx1">
                    <a:lumMod val="75000"/>
                    <a:lumOff val="25000"/>
                  </a:schemeClr>
                </a:solidFill>
              </a:rPr>
              <a:t>nonumy</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r>
              <a:rPr lang="de-DE" sz="1400" dirty="0" err="1">
                <a:solidFill>
                  <a:schemeClr val="tx1">
                    <a:lumMod val="75000"/>
                    <a:lumOff val="25000"/>
                  </a:schemeClr>
                </a:solidFill>
              </a:rPr>
              <a:t>invidunt</a:t>
            </a:r>
            <a:r>
              <a:rPr lang="de-DE" sz="1400" dirty="0">
                <a:solidFill>
                  <a:schemeClr val="tx1">
                    <a:lumMod val="75000"/>
                    <a:lumOff val="25000"/>
                  </a:schemeClr>
                </a:solidFill>
              </a:rPr>
              <a:t> </a:t>
            </a:r>
            <a:r>
              <a:rPr lang="de-DE" sz="1400" dirty="0" err="1">
                <a:solidFill>
                  <a:schemeClr val="tx1">
                    <a:lumMod val="75000"/>
                    <a:lumOff val="25000"/>
                  </a:schemeClr>
                </a:solidFill>
              </a:rPr>
              <a:t>ut</a:t>
            </a:r>
            <a:r>
              <a:rPr lang="de-DE" sz="1400" dirty="0">
                <a:solidFill>
                  <a:schemeClr val="tx1">
                    <a:lumMod val="75000"/>
                    <a:lumOff val="25000"/>
                  </a:schemeClr>
                </a:solidFill>
              </a:rPr>
              <a:t> </a:t>
            </a:r>
            <a:r>
              <a:rPr lang="de-DE" sz="1400" dirty="0" err="1">
                <a:solidFill>
                  <a:schemeClr val="tx1">
                    <a:lumMod val="75000"/>
                    <a:lumOff val="25000"/>
                  </a:schemeClr>
                </a:solidFill>
              </a:rPr>
              <a:t>labore</a:t>
            </a:r>
            <a:r>
              <a:rPr lang="de-DE" sz="1400" dirty="0">
                <a:solidFill>
                  <a:schemeClr val="tx1">
                    <a:lumMod val="75000"/>
                    <a:lumOff val="25000"/>
                  </a:schemeClr>
                </a:solidFill>
              </a:rPr>
              <a:t> </a:t>
            </a:r>
            <a:r>
              <a:rPr lang="de-DE" sz="1400" dirty="0" err="1">
                <a:solidFill>
                  <a:schemeClr val="tx1">
                    <a:lumMod val="75000"/>
                    <a:lumOff val="25000"/>
                  </a:schemeClr>
                </a:solidFill>
              </a:rPr>
              <a:t>lore</a:t>
            </a:r>
            <a:r>
              <a:rPr lang="de-DE" sz="1400" dirty="0">
                <a:solidFill>
                  <a:schemeClr val="tx1">
                    <a:lumMod val="75000"/>
                    <a:lumOff val="25000"/>
                  </a:schemeClr>
                </a:solidFill>
              </a:rPr>
              <a:t>.</a:t>
            </a:r>
          </a:p>
        </p:txBody>
      </p:sp>
      <p:graphicFrame>
        <p:nvGraphicFramePr>
          <p:cNvPr id="6" name="Diagramm 5">
            <a:extLst>
              <a:ext uri="{FF2B5EF4-FFF2-40B4-BE49-F238E27FC236}">
                <a16:creationId xmlns:a16="http://schemas.microsoft.com/office/drawing/2014/main" id="{E059E467-AF91-A108-1573-8C9D38E009C9}"/>
              </a:ext>
            </a:extLst>
          </p:cNvPr>
          <p:cNvGraphicFramePr/>
          <p:nvPr>
            <p:extLst>
              <p:ext uri="{D42A27DB-BD31-4B8C-83A1-F6EECF244321}">
                <p14:modId xmlns:p14="http://schemas.microsoft.com/office/powerpoint/2010/main" val="2319296333"/>
              </p:ext>
            </p:extLst>
          </p:nvPr>
        </p:nvGraphicFramePr>
        <p:xfrm>
          <a:off x="493952" y="1540160"/>
          <a:ext cx="5422048" cy="4473044"/>
        </p:xfrm>
        <a:graphic>
          <a:graphicData uri="http://schemas.openxmlformats.org/drawingml/2006/chart">
            <c:chart xmlns:c="http://schemas.openxmlformats.org/drawingml/2006/chart" xmlns:r="http://schemas.openxmlformats.org/officeDocument/2006/relationships" r:id="rId2"/>
          </a:graphicData>
        </a:graphic>
      </p:graphicFrame>
      <p:grpSp>
        <p:nvGrpSpPr>
          <p:cNvPr id="7" name="Gruppieren 6">
            <a:extLst>
              <a:ext uri="{FF2B5EF4-FFF2-40B4-BE49-F238E27FC236}">
                <a16:creationId xmlns:a16="http://schemas.microsoft.com/office/drawing/2014/main" id="{CE58CAE1-066D-9231-D49A-A3C606220DAD}"/>
              </a:ext>
            </a:extLst>
          </p:cNvPr>
          <p:cNvGrpSpPr/>
          <p:nvPr/>
        </p:nvGrpSpPr>
        <p:grpSpPr>
          <a:xfrm>
            <a:off x="551657" y="6177510"/>
            <a:ext cx="1112386" cy="153888"/>
            <a:chOff x="551657" y="6140661"/>
            <a:chExt cx="1112386" cy="153888"/>
          </a:xfrm>
        </p:grpSpPr>
        <p:sp>
          <p:nvSpPr>
            <p:cNvPr id="8" name="Ellipse 7">
              <a:extLst>
                <a:ext uri="{FF2B5EF4-FFF2-40B4-BE49-F238E27FC236}">
                  <a16:creationId xmlns:a16="http://schemas.microsoft.com/office/drawing/2014/main" id="{7062D818-A062-78F1-F4C9-D37A257DC36B}"/>
                </a:ext>
              </a:extLst>
            </p:cNvPr>
            <p:cNvSpPr/>
            <p:nvPr/>
          </p:nvSpPr>
          <p:spPr>
            <a:xfrm>
              <a:off x="551657" y="6163605"/>
              <a:ext cx="108000" cy="108000"/>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5AF55CDC-8331-0FE2-1D8B-9FA94FACA051}"/>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0" name="Gruppieren 9">
            <a:extLst>
              <a:ext uri="{FF2B5EF4-FFF2-40B4-BE49-F238E27FC236}">
                <a16:creationId xmlns:a16="http://schemas.microsoft.com/office/drawing/2014/main" id="{ECC91572-A5E4-7B20-6CCC-0786A54DAF93}"/>
              </a:ext>
            </a:extLst>
          </p:cNvPr>
          <p:cNvGrpSpPr/>
          <p:nvPr/>
        </p:nvGrpSpPr>
        <p:grpSpPr>
          <a:xfrm>
            <a:off x="1662781" y="6177510"/>
            <a:ext cx="1112386" cy="153888"/>
            <a:chOff x="551657" y="6140661"/>
            <a:chExt cx="1112386" cy="153888"/>
          </a:xfrm>
        </p:grpSpPr>
        <p:sp>
          <p:nvSpPr>
            <p:cNvPr id="11" name="Ellipse 10">
              <a:extLst>
                <a:ext uri="{FF2B5EF4-FFF2-40B4-BE49-F238E27FC236}">
                  <a16:creationId xmlns:a16="http://schemas.microsoft.com/office/drawing/2014/main" id="{5D75330D-B215-7705-6556-A922AC97E62A}"/>
                </a:ext>
              </a:extLst>
            </p:cNvPr>
            <p:cNvSpPr/>
            <p:nvPr/>
          </p:nvSpPr>
          <p:spPr>
            <a:xfrm>
              <a:off x="551657" y="6163605"/>
              <a:ext cx="108000" cy="1080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extfeld 11">
              <a:extLst>
                <a:ext uri="{FF2B5EF4-FFF2-40B4-BE49-F238E27FC236}">
                  <a16:creationId xmlns:a16="http://schemas.microsoft.com/office/drawing/2014/main" id="{2F9104B4-9560-8597-1673-AE5677931030}"/>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3" name="Gruppieren 12">
            <a:extLst>
              <a:ext uri="{FF2B5EF4-FFF2-40B4-BE49-F238E27FC236}">
                <a16:creationId xmlns:a16="http://schemas.microsoft.com/office/drawing/2014/main" id="{F32340EB-2EA6-FC8A-319E-31EB0C657562}"/>
              </a:ext>
            </a:extLst>
          </p:cNvPr>
          <p:cNvGrpSpPr/>
          <p:nvPr/>
        </p:nvGrpSpPr>
        <p:grpSpPr>
          <a:xfrm>
            <a:off x="2775167" y="6177510"/>
            <a:ext cx="1112386" cy="153888"/>
            <a:chOff x="551657" y="6140661"/>
            <a:chExt cx="1112386" cy="153888"/>
          </a:xfrm>
        </p:grpSpPr>
        <p:sp>
          <p:nvSpPr>
            <p:cNvPr id="14" name="Ellipse 13">
              <a:extLst>
                <a:ext uri="{FF2B5EF4-FFF2-40B4-BE49-F238E27FC236}">
                  <a16:creationId xmlns:a16="http://schemas.microsoft.com/office/drawing/2014/main" id="{F39CC771-8A33-DDAB-60E8-5A02044A2599}"/>
                </a:ext>
              </a:extLst>
            </p:cNvPr>
            <p:cNvSpPr/>
            <p:nvPr/>
          </p:nvSpPr>
          <p:spPr>
            <a:xfrm>
              <a:off x="551657" y="6163605"/>
              <a:ext cx="108000" cy="1080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Textfeld 14">
              <a:extLst>
                <a:ext uri="{FF2B5EF4-FFF2-40B4-BE49-F238E27FC236}">
                  <a16:creationId xmlns:a16="http://schemas.microsoft.com/office/drawing/2014/main" id="{5C603453-DC68-0C8F-0D77-34D62F4101D9}"/>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6" name="Gruppieren 15">
            <a:extLst>
              <a:ext uri="{FF2B5EF4-FFF2-40B4-BE49-F238E27FC236}">
                <a16:creationId xmlns:a16="http://schemas.microsoft.com/office/drawing/2014/main" id="{FA1AA479-593C-038B-A013-DC4905993253}"/>
              </a:ext>
            </a:extLst>
          </p:cNvPr>
          <p:cNvGrpSpPr/>
          <p:nvPr/>
        </p:nvGrpSpPr>
        <p:grpSpPr>
          <a:xfrm>
            <a:off x="551657" y="5955634"/>
            <a:ext cx="1112386" cy="153888"/>
            <a:chOff x="551657" y="6140661"/>
            <a:chExt cx="1112386" cy="153888"/>
          </a:xfrm>
        </p:grpSpPr>
        <p:sp>
          <p:nvSpPr>
            <p:cNvPr id="17" name="Ellipse 19">
              <a:extLst>
                <a:ext uri="{FF2B5EF4-FFF2-40B4-BE49-F238E27FC236}">
                  <a16:creationId xmlns:a16="http://schemas.microsoft.com/office/drawing/2014/main" id="{DA1E2A92-94D8-80DB-A612-A284F4F26A02}"/>
                </a:ext>
              </a:extLst>
            </p:cNvPr>
            <p:cNvSpPr/>
            <p:nvPr/>
          </p:nvSpPr>
          <p:spPr>
            <a:xfrm>
              <a:off x="551657" y="6163605"/>
              <a:ext cx="108000" cy="108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Textfeld 17">
              <a:extLst>
                <a:ext uri="{FF2B5EF4-FFF2-40B4-BE49-F238E27FC236}">
                  <a16:creationId xmlns:a16="http://schemas.microsoft.com/office/drawing/2014/main" id="{145D743B-E775-A56A-CE8C-0CB6F71B7FA9}"/>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9" name="Gruppieren 18">
            <a:extLst>
              <a:ext uri="{FF2B5EF4-FFF2-40B4-BE49-F238E27FC236}">
                <a16:creationId xmlns:a16="http://schemas.microsoft.com/office/drawing/2014/main" id="{725B0535-A56E-67B0-F4D2-3F91EC33F105}"/>
              </a:ext>
            </a:extLst>
          </p:cNvPr>
          <p:cNvGrpSpPr/>
          <p:nvPr/>
        </p:nvGrpSpPr>
        <p:grpSpPr>
          <a:xfrm>
            <a:off x="1662781" y="5955634"/>
            <a:ext cx="1112386" cy="153888"/>
            <a:chOff x="551657" y="6140661"/>
            <a:chExt cx="1112386" cy="153888"/>
          </a:xfrm>
        </p:grpSpPr>
        <p:sp>
          <p:nvSpPr>
            <p:cNvPr id="20" name="Ellipse 24">
              <a:extLst>
                <a:ext uri="{FF2B5EF4-FFF2-40B4-BE49-F238E27FC236}">
                  <a16:creationId xmlns:a16="http://schemas.microsoft.com/office/drawing/2014/main" id="{AC774553-F7A7-3C53-CA4E-19BE400EFEEB}"/>
                </a:ext>
              </a:extLst>
            </p:cNvPr>
            <p:cNvSpPr/>
            <p:nvPr/>
          </p:nvSpPr>
          <p:spPr>
            <a:xfrm>
              <a:off x="551657" y="6163605"/>
              <a:ext cx="108000" cy="108000"/>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Textfeld 20">
              <a:extLst>
                <a:ext uri="{FF2B5EF4-FFF2-40B4-BE49-F238E27FC236}">
                  <a16:creationId xmlns:a16="http://schemas.microsoft.com/office/drawing/2014/main" id="{D6680FCB-492B-7F94-BAEE-41DED315F7D2}"/>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22" name="Gruppieren 21">
            <a:extLst>
              <a:ext uri="{FF2B5EF4-FFF2-40B4-BE49-F238E27FC236}">
                <a16:creationId xmlns:a16="http://schemas.microsoft.com/office/drawing/2014/main" id="{2729349A-2ABF-24D3-D345-B24DB13A8EB9}"/>
              </a:ext>
            </a:extLst>
          </p:cNvPr>
          <p:cNvGrpSpPr/>
          <p:nvPr/>
        </p:nvGrpSpPr>
        <p:grpSpPr>
          <a:xfrm>
            <a:off x="2775167" y="5955634"/>
            <a:ext cx="1112386" cy="153888"/>
            <a:chOff x="551657" y="6140661"/>
            <a:chExt cx="1112386" cy="153888"/>
          </a:xfrm>
        </p:grpSpPr>
        <p:sp>
          <p:nvSpPr>
            <p:cNvPr id="23" name="Ellipse 27">
              <a:extLst>
                <a:ext uri="{FF2B5EF4-FFF2-40B4-BE49-F238E27FC236}">
                  <a16:creationId xmlns:a16="http://schemas.microsoft.com/office/drawing/2014/main" id="{F8AFC66E-0B27-1538-DD12-72989DA20D23}"/>
                </a:ext>
              </a:extLst>
            </p:cNvPr>
            <p:cNvSpPr/>
            <p:nvPr/>
          </p:nvSpPr>
          <p:spPr>
            <a:xfrm>
              <a:off x="551657" y="6163605"/>
              <a:ext cx="108000" cy="108000"/>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Textfeld 23">
              <a:extLst>
                <a:ext uri="{FF2B5EF4-FFF2-40B4-BE49-F238E27FC236}">
                  <a16:creationId xmlns:a16="http://schemas.microsoft.com/office/drawing/2014/main" id="{871FE388-371C-023A-24C9-3625D76881FE}"/>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sp>
        <p:nvSpPr>
          <p:cNvPr id="26" name="Foliennummernplatzhalter 5">
            <a:extLst>
              <a:ext uri="{FF2B5EF4-FFF2-40B4-BE49-F238E27FC236}">
                <a16:creationId xmlns:a16="http://schemas.microsoft.com/office/drawing/2014/main" id="{1938A0AA-032D-DCDB-CFDB-3D6DAD4DBB19}"/>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21</a:t>
            </a:fld>
            <a:endParaRPr lang="de-DE" dirty="0"/>
          </a:p>
        </p:txBody>
      </p:sp>
      <p:grpSp>
        <p:nvGrpSpPr>
          <p:cNvPr id="5" name="Grafik 13">
            <a:extLst>
              <a:ext uri="{FF2B5EF4-FFF2-40B4-BE49-F238E27FC236}">
                <a16:creationId xmlns:a16="http://schemas.microsoft.com/office/drawing/2014/main" id="{D56040C4-6C13-85BF-7617-AC433D004973}"/>
              </a:ext>
            </a:extLst>
          </p:cNvPr>
          <p:cNvGrpSpPr/>
          <p:nvPr/>
        </p:nvGrpSpPr>
        <p:grpSpPr>
          <a:xfrm>
            <a:off x="10950177" y="410025"/>
            <a:ext cx="465152" cy="539923"/>
            <a:chOff x="10950380" y="410026"/>
            <a:chExt cx="465152" cy="539923"/>
          </a:xfrm>
        </p:grpSpPr>
        <p:sp>
          <p:nvSpPr>
            <p:cNvPr id="27" name="Freihandform: Form 26">
              <a:extLst>
                <a:ext uri="{FF2B5EF4-FFF2-40B4-BE49-F238E27FC236}">
                  <a16:creationId xmlns:a16="http://schemas.microsoft.com/office/drawing/2014/main" id="{05F127A2-6EF4-2A92-E19B-8EAC911C1290}"/>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3"/>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28" name="Freihandform: Form 27">
              <a:extLst>
                <a:ext uri="{FF2B5EF4-FFF2-40B4-BE49-F238E27FC236}">
                  <a16:creationId xmlns:a16="http://schemas.microsoft.com/office/drawing/2014/main" id="{88F52B50-CEB6-4752-7865-941A796FB4F2}"/>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29" name="Freihandform: Form 28">
              <a:extLst>
                <a:ext uri="{FF2B5EF4-FFF2-40B4-BE49-F238E27FC236}">
                  <a16:creationId xmlns:a16="http://schemas.microsoft.com/office/drawing/2014/main" id="{F039BA03-21B0-8B15-5F7E-442E2CFE2930}"/>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30" name="Freihandform: Form 29">
              <a:extLst>
                <a:ext uri="{FF2B5EF4-FFF2-40B4-BE49-F238E27FC236}">
                  <a16:creationId xmlns:a16="http://schemas.microsoft.com/office/drawing/2014/main" id="{E89C1969-AF4A-EDC3-D3FD-7D1FC818B7C6}"/>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2117424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E3BBBAE5-24B0-409C-DB61-E6FEC1E35818}"/>
              </a:ext>
            </a:extLst>
          </p:cNvPr>
          <p:cNvSpPr>
            <a:spLocks noGrp="1"/>
          </p:cNvSpPr>
          <p:nvPr>
            <p:ph type="body" sz="quarter" idx="10"/>
          </p:nvPr>
        </p:nvSpPr>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5" name="Textplatzhalter 4">
            <a:extLst>
              <a:ext uri="{FF2B5EF4-FFF2-40B4-BE49-F238E27FC236}">
                <a16:creationId xmlns:a16="http://schemas.microsoft.com/office/drawing/2014/main" id="{9F996099-BF9A-1E75-782D-11B01F083C49}"/>
              </a:ext>
            </a:extLst>
          </p:cNvPr>
          <p:cNvSpPr>
            <a:spLocks noGrp="1"/>
          </p:cNvSpPr>
          <p:nvPr>
            <p:ph type="body" sz="quarter" idx="11"/>
          </p:nvPr>
        </p:nvSpPr>
        <p:spPr>
          <a:xfrm>
            <a:off x="556650" y="706398"/>
            <a:ext cx="9209813" cy="1538883"/>
          </a:xfrm>
        </p:spPr>
        <p:txBody>
          <a:bodyPr/>
          <a:lstStyle/>
          <a:p>
            <a:r>
              <a:rPr lang="de-DE" dirty="0"/>
              <a:t>Problematische Körperbilder </a:t>
            </a:r>
            <a:endParaRPr lang="de-DE" sz="5000" b="1" spc="100" dirty="0">
              <a:latin typeface="Segoe UI" panose="020B0502040204020203" pitchFamily="34" charset="0"/>
              <a:cs typeface="Segoe UI" panose="020B0502040204020203" pitchFamily="34" charset="0"/>
            </a:endParaRPr>
          </a:p>
        </p:txBody>
      </p:sp>
      <p:sp>
        <p:nvSpPr>
          <p:cNvPr id="7" name="Foliennummernplatzhalter 5">
            <a:extLst>
              <a:ext uri="{FF2B5EF4-FFF2-40B4-BE49-F238E27FC236}">
                <a16:creationId xmlns:a16="http://schemas.microsoft.com/office/drawing/2014/main" id="{927EA0ED-9166-8992-9B9D-C4EAE6732A89}"/>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2"/>
                </a:solidFill>
              </a:rPr>
              <a:pPr/>
              <a:t>3</a:t>
            </a:fld>
            <a:endParaRPr lang="de-DE" dirty="0">
              <a:solidFill>
                <a:schemeClr val="accent2"/>
              </a:solidFill>
            </a:endParaRPr>
          </a:p>
        </p:txBody>
      </p:sp>
      <p:pic>
        <p:nvPicPr>
          <p:cNvPr id="11" name="Grafik 10"/>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7059166" y="921842"/>
            <a:ext cx="6026575" cy="5840569"/>
          </a:xfrm>
          <a:prstGeom prst="rect">
            <a:avLst/>
          </a:prstGeom>
        </p:spPr>
      </p:pic>
    </p:spTree>
    <p:extLst>
      <p:ext uri="{BB962C8B-B14F-4D97-AF65-F5344CB8AC3E}">
        <p14:creationId xmlns:p14="http://schemas.microsoft.com/office/powerpoint/2010/main" val="2839664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platzhalter 8">
            <a:extLst>
              <a:ext uri="{FF2B5EF4-FFF2-40B4-BE49-F238E27FC236}">
                <a16:creationId xmlns:a16="http://schemas.microsoft.com/office/drawing/2014/main" id="{8760A62A-A304-49AB-813E-83D330D4862A}"/>
              </a:ext>
            </a:extLst>
          </p:cNvPr>
          <p:cNvSpPr>
            <a:spLocks noGrp="1" noRot="1" noMove="1" noResize="1" noEditPoints="1" noAdjustHandles="1" noChangeArrowheads="1" noChangeShapeType="1"/>
          </p:cNvSpPr>
          <p:nvPr>
            <p:ph type="body" sz="quarter" idx="13"/>
          </p:nvPr>
        </p:nvSpPr>
        <p:spPr/>
        <p:txBody>
          <a:bodyPr/>
          <a:lstStyle/>
          <a:p>
            <a:pPr marL="269875" lvl="0" indent="-269875"/>
            <a:r>
              <a:rPr lang="de-DE" dirty="0">
                <a:latin typeface="+mj-lt"/>
                <a:ea typeface="Calibri" panose="020F0502020204030204" pitchFamily="34" charset="0"/>
                <a:cs typeface="Semikolon Plus"/>
              </a:rPr>
              <a:t>An welchen Vorbildern orientiert sich Ihr </a:t>
            </a:r>
            <a:r>
              <a:rPr lang="de-DE" dirty="0" smtClean="0">
                <a:latin typeface="+mj-lt"/>
                <a:ea typeface="Calibri" panose="020F0502020204030204" pitchFamily="34" charset="0"/>
                <a:cs typeface="Semikolon Plus"/>
              </a:rPr>
              <a:t>Kind </a:t>
            </a:r>
            <a:br>
              <a:rPr lang="de-DE" dirty="0" smtClean="0">
                <a:latin typeface="+mj-lt"/>
                <a:ea typeface="Calibri" panose="020F0502020204030204" pitchFamily="34" charset="0"/>
                <a:cs typeface="Semikolon Plus"/>
              </a:rPr>
            </a:br>
            <a:r>
              <a:rPr lang="de-DE" dirty="0" smtClean="0">
                <a:latin typeface="+mj-lt"/>
                <a:ea typeface="Calibri" panose="020F0502020204030204" pitchFamily="34" charset="0"/>
                <a:cs typeface="Semikolon Plus"/>
              </a:rPr>
              <a:t>hinsichtlich </a:t>
            </a:r>
            <a:r>
              <a:rPr lang="de-DE" dirty="0">
                <a:latin typeface="+mj-lt"/>
                <a:ea typeface="Calibri" panose="020F0502020204030204" pitchFamily="34" charset="0"/>
                <a:cs typeface="Semikolon Plus"/>
              </a:rPr>
              <a:t>seines Aussehens? </a:t>
            </a:r>
            <a:r>
              <a:rPr lang="de-DE" dirty="0" smtClean="0">
                <a:latin typeface="+mj-lt"/>
                <a:ea typeface="Calibri" panose="020F0502020204030204" pitchFamily="34" charset="0"/>
                <a:cs typeface="Semikolon Plus"/>
              </a:rPr>
              <a:t/>
            </a:r>
            <a:br>
              <a:rPr lang="de-DE" dirty="0" smtClean="0">
                <a:latin typeface="+mj-lt"/>
                <a:ea typeface="Calibri" panose="020F0502020204030204" pitchFamily="34" charset="0"/>
                <a:cs typeface="Semikolon Plus"/>
              </a:rPr>
            </a:br>
            <a:r>
              <a:rPr lang="de-DE" dirty="0" smtClean="0">
                <a:latin typeface="+mj-lt"/>
                <a:ea typeface="Calibri" panose="020F0502020204030204" pitchFamily="34" charset="0"/>
                <a:cs typeface="Semikolon Plus"/>
              </a:rPr>
              <a:t>Möchte Ihr Kind so aussehen wie sein Vorbild?</a:t>
            </a:r>
          </a:p>
          <a:p>
            <a:pPr marL="269875" lvl="0" indent="-269875"/>
            <a:r>
              <a:rPr lang="de-DE" dirty="0" smtClean="0">
                <a:latin typeface="+mj-lt"/>
                <a:ea typeface="Calibri" panose="020F0502020204030204" pitchFamily="34" charset="0"/>
                <a:cs typeface="Semikolon Plus"/>
              </a:rPr>
              <a:t>In den Medien werden oft perfekte Körper gezeigt bzw. </a:t>
            </a:r>
            <a:br>
              <a:rPr lang="de-DE" dirty="0" smtClean="0">
                <a:latin typeface="+mj-lt"/>
                <a:ea typeface="Calibri" panose="020F0502020204030204" pitchFamily="34" charset="0"/>
                <a:cs typeface="Semikolon Plus"/>
              </a:rPr>
            </a:br>
            <a:r>
              <a:rPr lang="de-DE" dirty="0" smtClean="0">
                <a:latin typeface="+mj-lt"/>
                <a:ea typeface="Calibri" panose="020F0502020204030204" pitchFamily="34" charset="0"/>
                <a:cs typeface="Semikolon Plus"/>
              </a:rPr>
              <a:t>zum Thema gemacht: Welche Körperdarstellungen halten Sie </a:t>
            </a:r>
            <a:br>
              <a:rPr lang="de-DE" dirty="0" smtClean="0">
                <a:latin typeface="+mj-lt"/>
                <a:ea typeface="Calibri" panose="020F0502020204030204" pitchFamily="34" charset="0"/>
                <a:cs typeface="Semikolon Plus"/>
              </a:rPr>
            </a:br>
            <a:r>
              <a:rPr lang="de-DE" dirty="0" smtClean="0">
                <a:latin typeface="+mj-lt"/>
                <a:ea typeface="Calibri" panose="020F0502020204030204" pitchFamily="34" charset="0"/>
                <a:cs typeface="Semikolon Plus"/>
              </a:rPr>
              <a:t>für besonders problematisch und wo begegnen Ihnen diese </a:t>
            </a:r>
            <a:br>
              <a:rPr lang="de-DE" dirty="0" smtClean="0">
                <a:latin typeface="+mj-lt"/>
                <a:ea typeface="Calibri" panose="020F0502020204030204" pitchFamily="34" charset="0"/>
                <a:cs typeface="Semikolon Plus"/>
              </a:rPr>
            </a:br>
            <a:r>
              <a:rPr lang="de-DE" dirty="0" smtClean="0">
                <a:latin typeface="+mj-lt"/>
                <a:ea typeface="Calibri" panose="020F0502020204030204" pitchFamily="34" charset="0"/>
                <a:cs typeface="Semikolon Plus"/>
              </a:rPr>
              <a:t>in den Medien?</a:t>
            </a:r>
            <a:endParaRPr lang="de-DE" dirty="0">
              <a:latin typeface="+mj-lt"/>
              <a:ea typeface="Calibri" panose="020F0502020204030204" pitchFamily="34" charset="0"/>
              <a:cs typeface="Semikolon Plus"/>
            </a:endParaRPr>
          </a:p>
        </p:txBody>
      </p:sp>
      <p:sp>
        <p:nvSpPr>
          <p:cNvPr id="12" name="Textplatzhalter 11">
            <a:extLst>
              <a:ext uri="{FF2B5EF4-FFF2-40B4-BE49-F238E27FC236}">
                <a16:creationId xmlns:a16="http://schemas.microsoft.com/office/drawing/2014/main" id="{1F664A32-3D39-8D0B-486B-9BF815E410A2}"/>
              </a:ext>
            </a:extLst>
          </p:cNvPr>
          <p:cNvSpPr>
            <a:spLocks noGrp="1" noRot="1" noMove="1" noResize="1" noEditPoints="1" noAdjustHandles="1" noChangeArrowheads="1" noChangeShapeType="1"/>
          </p:cNvSpPr>
          <p:nvPr>
            <p:ph type="body" sz="quarter" idx="14"/>
          </p:nvPr>
        </p:nvSpPr>
        <p:spPr/>
        <p:txBody>
          <a:bodyPr/>
          <a:lstStyle/>
          <a:p>
            <a:endParaRPr lang="de-DE" dirty="0"/>
          </a:p>
        </p:txBody>
      </p:sp>
      <p:sp>
        <p:nvSpPr>
          <p:cNvPr id="10" name="Textplatzhalter 9">
            <a:extLst>
              <a:ext uri="{FF2B5EF4-FFF2-40B4-BE49-F238E27FC236}">
                <a16:creationId xmlns:a16="http://schemas.microsoft.com/office/drawing/2014/main" id="{CB70B225-966B-9D02-F51F-9BC9C45524F1}"/>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11" name="Textplatzhalter 10">
            <a:extLst>
              <a:ext uri="{FF2B5EF4-FFF2-40B4-BE49-F238E27FC236}">
                <a16:creationId xmlns:a16="http://schemas.microsoft.com/office/drawing/2014/main" id="{65019EAA-06A0-11CE-F7A3-2C9228D2DE64}"/>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IMPULSFRAGEN</a:t>
            </a:r>
          </a:p>
        </p:txBody>
      </p:sp>
      <p:sp>
        <p:nvSpPr>
          <p:cNvPr id="13" name="Textplatzhalter 12">
            <a:extLst>
              <a:ext uri="{FF2B5EF4-FFF2-40B4-BE49-F238E27FC236}">
                <a16:creationId xmlns:a16="http://schemas.microsoft.com/office/drawing/2014/main" id="{7F69ADD6-49C8-1C7E-45BD-0B92ECFCE013}"/>
              </a:ext>
            </a:extLst>
          </p:cNvPr>
          <p:cNvSpPr>
            <a:spLocks noGrp="1" noRot="1" noMove="1" noResize="1" noEditPoints="1" noAdjustHandles="1" noChangeArrowheads="1" noChangeShapeType="1"/>
          </p:cNvSpPr>
          <p:nvPr>
            <p:ph type="body" sz="quarter" idx="15"/>
          </p:nvPr>
        </p:nvSpPr>
        <p:spPr/>
        <p:txBody>
          <a:bodyPr/>
          <a:lstStyle/>
          <a:p>
            <a:endParaRPr lang="de-DE" dirty="0"/>
          </a:p>
        </p:txBody>
      </p:sp>
      <p:sp>
        <p:nvSpPr>
          <p:cNvPr id="2" name="Foliennummernplatzhalter 5">
            <a:extLst>
              <a:ext uri="{FF2B5EF4-FFF2-40B4-BE49-F238E27FC236}">
                <a16:creationId xmlns:a16="http://schemas.microsoft.com/office/drawing/2014/main" id="{915DABB1-3278-98EC-5CA2-1598196C4A49}"/>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2"/>
                </a:solidFill>
              </a:rPr>
              <a:pPr/>
              <a:t>4</a:t>
            </a:fld>
            <a:endParaRPr lang="de-DE" dirty="0">
              <a:solidFill>
                <a:schemeClr val="accent2"/>
              </a:solidFill>
            </a:endParaRPr>
          </a:p>
        </p:txBody>
      </p:sp>
      <p:grpSp>
        <p:nvGrpSpPr>
          <p:cNvPr id="8" name="Grafik 13">
            <a:extLst>
              <a:ext uri="{FF2B5EF4-FFF2-40B4-BE49-F238E27FC236}">
                <a16:creationId xmlns:a16="http://schemas.microsoft.com/office/drawing/2014/main" id="{6552540A-5992-CF80-3696-D21A33978998}"/>
              </a:ext>
            </a:extLst>
          </p:cNvPr>
          <p:cNvGrpSpPr/>
          <p:nvPr/>
        </p:nvGrpSpPr>
        <p:grpSpPr>
          <a:xfrm>
            <a:off x="10950177" y="410025"/>
            <a:ext cx="465152" cy="539923"/>
            <a:chOff x="10950380" y="410026"/>
            <a:chExt cx="465152" cy="539923"/>
          </a:xfrm>
        </p:grpSpPr>
        <p:sp>
          <p:nvSpPr>
            <p:cNvPr id="16" name="Freihandform: Form 15">
              <a:extLst>
                <a:ext uri="{FF2B5EF4-FFF2-40B4-BE49-F238E27FC236}">
                  <a16:creationId xmlns:a16="http://schemas.microsoft.com/office/drawing/2014/main" id="{B0179DD5-A80E-8B81-83B6-B2DA9F5F93DC}"/>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3"/>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7" name="Freihandform: Form 16">
              <a:extLst>
                <a:ext uri="{FF2B5EF4-FFF2-40B4-BE49-F238E27FC236}">
                  <a16:creationId xmlns:a16="http://schemas.microsoft.com/office/drawing/2014/main" id="{F18B5DED-2EC7-4BD3-D0CE-3A31E7DFF026}"/>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8" name="Freihandform: Form 17">
              <a:extLst>
                <a:ext uri="{FF2B5EF4-FFF2-40B4-BE49-F238E27FC236}">
                  <a16:creationId xmlns:a16="http://schemas.microsoft.com/office/drawing/2014/main" id="{4ACF60AF-7D8F-633F-8A1B-EF9F797A7921}"/>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9" name="Freihandform: Form 18">
              <a:extLst>
                <a:ext uri="{FF2B5EF4-FFF2-40B4-BE49-F238E27FC236}">
                  <a16:creationId xmlns:a16="http://schemas.microsoft.com/office/drawing/2014/main" id="{1B632A95-9F44-4DD2-7DEC-99D06DCFFFA7}"/>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pic>
        <p:nvPicPr>
          <p:cNvPr id="4" name="Grafik 3"/>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8837918" y="1930650"/>
            <a:ext cx="2112259" cy="4166315"/>
          </a:xfrm>
          <a:prstGeom prst="rect">
            <a:avLst/>
          </a:prstGeom>
        </p:spPr>
      </p:pic>
    </p:spTree>
    <p:extLst>
      <p:ext uri="{BB962C8B-B14F-4D97-AF65-F5344CB8AC3E}">
        <p14:creationId xmlns:p14="http://schemas.microsoft.com/office/powerpoint/2010/main" val="1239580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p:cNvSpPr>
            <a:spLocks noGrp="1"/>
          </p:cNvSpPr>
          <p:nvPr>
            <p:ph type="body" sz="quarter" idx="10"/>
          </p:nvPr>
        </p:nvSpPr>
        <p:spPr/>
        <p:txBody>
          <a:bodyPr/>
          <a:lstStyle/>
          <a:p>
            <a:endParaRPr lang="de-DE"/>
          </a:p>
        </p:txBody>
      </p:sp>
      <p:sp>
        <p:nvSpPr>
          <p:cNvPr id="9" name="Textplatzhalter 8"/>
          <p:cNvSpPr>
            <a:spLocks noGrp="1"/>
          </p:cNvSpPr>
          <p:nvPr>
            <p:ph type="body" sz="quarter" idx="11"/>
          </p:nvPr>
        </p:nvSpPr>
        <p:spPr/>
        <p:txBody>
          <a:bodyPr/>
          <a:lstStyle/>
          <a:p>
            <a:r>
              <a:rPr lang="de-DE" dirty="0" smtClean="0"/>
              <a:t>Praxisbeispiel</a:t>
            </a:r>
            <a:endParaRPr lang="de-DE" dirty="0"/>
          </a:p>
        </p:txBody>
      </p:sp>
      <p:sp>
        <p:nvSpPr>
          <p:cNvPr id="10" name="Textplatzhalter 9"/>
          <p:cNvSpPr>
            <a:spLocks noGrp="1"/>
          </p:cNvSpPr>
          <p:nvPr>
            <p:ph type="body" sz="quarter" idx="13"/>
          </p:nvPr>
        </p:nvSpPr>
        <p:spPr/>
        <p:txBody>
          <a:bodyPr/>
          <a:lstStyle/>
          <a:p>
            <a:endParaRPr lang="de-DE"/>
          </a:p>
        </p:txBody>
      </p:sp>
      <p:sp>
        <p:nvSpPr>
          <p:cNvPr id="7" name="Foliennummernplatzhalter 6"/>
          <p:cNvSpPr>
            <a:spLocks noGrp="1"/>
          </p:cNvSpPr>
          <p:nvPr>
            <p:ph type="sldNum" sz="quarter" idx="4"/>
          </p:nvPr>
        </p:nvSpPr>
        <p:spPr/>
        <p:txBody>
          <a:bodyPr/>
          <a:lstStyle/>
          <a:p>
            <a:fld id="{B3D266E1-CF7D-47E8-B8E6-FE2361DFB2DF}" type="slidenum">
              <a:rPr lang="de-DE" smtClean="0"/>
              <a:pPr/>
              <a:t>5</a:t>
            </a:fld>
            <a:endParaRPr lang="de-DE" dirty="0"/>
          </a:p>
        </p:txBody>
      </p:sp>
      <p:pic>
        <p:nvPicPr>
          <p:cNvPr id="11" name="Grafik 10">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0929388" y="413431"/>
            <a:ext cx="540000" cy="540000"/>
          </a:xfrm>
          <a:prstGeom prst="rect">
            <a:avLst/>
          </a:prstGeom>
        </p:spPr>
      </p:pic>
      <p:pic>
        <p:nvPicPr>
          <p:cNvPr id="13" name="Inhaltsplatzhalter 4">
            <a:extLst>
              <a:ext uri="{FF2B5EF4-FFF2-40B4-BE49-F238E27FC236}">
                <a16:creationId xmlns:a16="http://schemas.microsoft.com/office/drawing/2014/main" id="{8451A460-C501-EC01-A856-810A7878E76F}"/>
              </a:ext>
            </a:extLst>
          </p:cNvPr>
          <p:cNvPicPr>
            <a:picLocks noChangeAspect="1"/>
          </p:cNvPicPr>
          <p:nvPr/>
        </p:nvPicPr>
        <p:blipFill rotWithShape="1">
          <a:blip r:embed="rId5">
            <a:extLst>
              <a:ext uri="{28A0092B-C50C-407E-A947-70E740481C1C}">
                <a14:useLocalDpi xmlns:a14="http://schemas.microsoft.com/office/drawing/2010/main" val="0"/>
              </a:ext>
            </a:extLst>
          </a:blip>
          <a:srcRect l="2046" t="1419" r="2067" b="71836"/>
          <a:stretch/>
        </p:blipFill>
        <p:spPr>
          <a:xfrm>
            <a:off x="554327" y="1653884"/>
            <a:ext cx="11086811" cy="4360710"/>
          </a:xfrm>
          <a:prstGeom prst="rect">
            <a:avLst/>
          </a:prstGeom>
        </p:spPr>
      </p:pic>
    </p:spTree>
    <p:extLst>
      <p:ext uri="{BB962C8B-B14F-4D97-AF65-F5344CB8AC3E}">
        <p14:creationId xmlns:p14="http://schemas.microsoft.com/office/powerpoint/2010/main" val="47569365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p:cNvSpPr>
            <a:spLocks noGrp="1"/>
          </p:cNvSpPr>
          <p:nvPr>
            <p:ph type="body" sz="quarter" idx="10"/>
          </p:nvPr>
        </p:nvSpPr>
        <p:spPr/>
        <p:txBody>
          <a:bodyPr/>
          <a:lstStyle/>
          <a:p>
            <a:endParaRPr lang="de-DE"/>
          </a:p>
        </p:txBody>
      </p:sp>
      <p:sp>
        <p:nvSpPr>
          <p:cNvPr id="9" name="Textplatzhalter 8"/>
          <p:cNvSpPr>
            <a:spLocks noGrp="1"/>
          </p:cNvSpPr>
          <p:nvPr>
            <p:ph type="body" sz="quarter" idx="11"/>
          </p:nvPr>
        </p:nvSpPr>
        <p:spPr/>
        <p:txBody>
          <a:bodyPr/>
          <a:lstStyle/>
          <a:p>
            <a:r>
              <a:rPr lang="de-DE" dirty="0" smtClean="0"/>
              <a:t>Praxisbeispiel</a:t>
            </a:r>
            <a:endParaRPr lang="de-DE" dirty="0"/>
          </a:p>
        </p:txBody>
      </p:sp>
      <p:sp>
        <p:nvSpPr>
          <p:cNvPr id="10" name="Textplatzhalter 9"/>
          <p:cNvSpPr>
            <a:spLocks noGrp="1"/>
          </p:cNvSpPr>
          <p:nvPr>
            <p:ph type="body" sz="quarter" idx="13"/>
          </p:nvPr>
        </p:nvSpPr>
        <p:spPr/>
        <p:txBody>
          <a:bodyPr/>
          <a:lstStyle/>
          <a:p>
            <a:endParaRPr lang="de-DE"/>
          </a:p>
        </p:txBody>
      </p:sp>
      <p:sp>
        <p:nvSpPr>
          <p:cNvPr id="7" name="Foliennummernplatzhalter 6"/>
          <p:cNvSpPr>
            <a:spLocks noGrp="1"/>
          </p:cNvSpPr>
          <p:nvPr>
            <p:ph type="sldNum" sz="quarter" idx="4"/>
          </p:nvPr>
        </p:nvSpPr>
        <p:spPr/>
        <p:txBody>
          <a:bodyPr/>
          <a:lstStyle/>
          <a:p>
            <a:fld id="{B3D266E1-CF7D-47E8-B8E6-FE2361DFB2DF}" type="slidenum">
              <a:rPr lang="de-DE" smtClean="0"/>
              <a:pPr/>
              <a:t>6</a:t>
            </a:fld>
            <a:endParaRPr lang="de-DE" dirty="0"/>
          </a:p>
        </p:txBody>
      </p:sp>
      <p:pic>
        <p:nvPicPr>
          <p:cNvPr id="11" name="Grafik 10">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0929388" y="413431"/>
            <a:ext cx="540000" cy="540000"/>
          </a:xfrm>
          <a:prstGeom prst="rect">
            <a:avLst/>
          </a:prstGeom>
        </p:spPr>
      </p:pic>
      <p:pic>
        <p:nvPicPr>
          <p:cNvPr id="14" name="Inhaltsplatzhalter 4">
            <a:extLst>
              <a:ext uri="{FF2B5EF4-FFF2-40B4-BE49-F238E27FC236}">
                <a16:creationId xmlns:a16="http://schemas.microsoft.com/office/drawing/2014/main" id="{8451A460-C501-EC01-A856-810A7878E76F}"/>
              </a:ext>
            </a:extLst>
          </p:cNvPr>
          <p:cNvPicPr>
            <a:picLocks noChangeAspect="1"/>
          </p:cNvPicPr>
          <p:nvPr/>
        </p:nvPicPr>
        <p:blipFill rotWithShape="1">
          <a:blip r:embed="rId5">
            <a:extLst>
              <a:ext uri="{28A0092B-C50C-407E-A947-70E740481C1C}">
                <a14:useLocalDpi xmlns:a14="http://schemas.microsoft.com/office/drawing/2010/main" val="0"/>
              </a:ext>
            </a:extLst>
          </a:blip>
          <a:srcRect l="2159" t="27965" r="2833" b="34338"/>
          <a:stretch/>
        </p:blipFill>
        <p:spPr>
          <a:xfrm>
            <a:off x="554327" y="1665288"/>
            <a:ext cx="8311767" cy="4650680"/>
          </a:xfrm>
          <a:prstGeom prst="rect">
            <a:avLst/>
          </a:prstGeom>
        </p:spPr>
      </p:pic>
    </p:spTree>
    <p:extLst>
      <p:ext uri="{BB962C8B-B14F-4D97-AF65-F5344CB8AC3E}">
        <p14:creationId xmlns:p14="http://schemas.microsoft.com/office/powerpoint/2010/main" val="68895974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p:cNvSpPr>
            <a:spLocks noGrp="1"/>
          </p:cNvSpPr>
          <p:nvPr>
            <p:ph type="body" sz="quarter" idx="10"/>
          </p:nvPr>
        </p:nvSpPr>
        <p:spPr/>
        <p:txBody>
          <a:bodyPr/>
          <a:lstStyle/>
          <a:p>
            <a:endParaRPr lang="de-DE"/>
          </a:p>
        </p:txBody>
      </p:sp>
      <p:sp>
        <p:nvSpPr>
          <p:cNvPr id="9" name="Textplatzhalter 8"/>
          <p:cNvSpPr>
            <a:spLocks noGrp="1"/>
          </p:cNvSpPr>
          <p:nvPr>
            <p:ph type="body" sz="quarter" idx="11"/>
          </p:nvPr>
        </p:nvSpPr>
        <p:spPr/>
        <p:txBody>
          <a:bodyPr/>
          <a:lstStyle/>
          <a:p>
            <a:r>
              <a:rPr lang="de-DE" dirty="0" smtClean="0"/>
              <a:t>Praxisbeispiel</a:t>
            </a:r>
            <a:endParaRPr lang="de-DE" dirty="0"/>
          </a:p>
        </p:txBody>
      </p:sp>
      <p:sp>
        <p:nvSpPr>
          <p:cNvPr id="10" name="Textplatzhalter 9"/>
          <p:cNvSpPr>
            <a:spLocks noGrp="1"/>
          </p:cNvSpPr>
          <p:nvPr>
            <p:ph type="body" sz="quarter" idx="13"/>
          </p:nvPr>
        </p:nvSpPr>
        <p:spPr/>
        <p:txBody>
          <a:bodyPr/>
          <a:lstStyle/>
          <a:p>
            <a:endParaRPr lang="de-DE"/>
          </a:p>
        </p:txBody>
      </p:sp>
      <p:sp>
        <p:nvSpPr>
          <p:cNvPr id="7" name="Foliennummernplatzhalter 6"/>
          <p:cNvSpPr>
            <a:spLocks noGrp="1"/>
          </p:cNvSpPr>
          <p:nvPr>
            <p:ph type="sldNum" sz="quarter" idx="4"/>
          </p:nvPr>
        </p:nvSpPr>
        <p:spPr/>
        <p:txBody>
          <a:bodyPr/>
          <a:lstStyle/>
          <a:p>
            <a:fld id="{B3D266E1-CF7D-47E8-B8E6-FE2361DFB2DF}" type="slidenum">
              <a:rPr lang="de-DE" smtClean="0"/>
              <a:pPr/>
              <a:t>7</a:t>
            </a:fld>
            <a:endParaRPr lang="de-DE" dirty="0"/>
          </a:p>
        </p:txBody>
      </p:sp>
      <p:pic>
        <p:nvPicPr>
          <p:cNvPr id="11" name="Grafik 10">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0929388" y="413431"/>
            <a:ext cx="540000" cy="540000"/>
          </a:xfrm>
          <a:prstGeom prst="rect">
            <a:avLst/>
          </a:prstGeom>
        </p:spPr>
      </p:pic>
      <p:pic>
        <p:nvPicPr>
          <p:cNvPr id="12" name="Inhaltsplatzhalter 4">
            <a:extLst>
              <a:ext uri="{FF2B5EF4-FFF2-40B4-BE49-F238E27FC236}">
                <a16:creationId xmlns:a16="http://schemas.microsoft.com/office/drawing/2014/main" id="{8451A460-C501-EC01-A856-810A7878E76F}"/>
              </a:ext>
            </a:extLst>
          </p:cNvPr>
          <p:cNvPicPr>
            <a:picLocks noChangeAspect="1"/>
          </p:cNvPicPr>
          <p:nvPr/>
        </p:nvPicPr>
        <p:blipFill rotWithShape="1">
          <a:blip r:embed="rId5">
            <a:extLst>
              <a:ext uri="{28A0092B-C50C-407E-A947-70E740481C1C}">
                <a14:useLocalDpi xmlns:a14="http://schemas.microsoft.com/office/drawing/2010/main" val="0"/>
              </a:ext>
            </a:extLst>
          </a:blip>
          <a:srcRect l="2338" t="65556" r="2225" b="1529"/>
          <a:stretch/>
        </p:blipFill>
        <p:spPr>
          <a:xfrm>
            <a:off x="554327" y="1665288"/>
            <a:ext cx="9547490" cy="4643437"/>
          </a:xfrm>
          <a:prstGeom prst="rect">
            <a:avLst/>
          </a:prstGeom>
        </p:spPr>
      </p:pic>
    </p:spTree>
    <p:extLst>
      <p:ext uri="{BB962C8B-B14F-4D97-AF65-F5344CB8AC3E}">
        <p14:creationId xmlns:p14="http://schemas.microsoft.com/office/powerpoint/2010/main" val="393062867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p:cNvSpPr>
            <a:spLocks noGrp="1"/>
          </p:cNvSpPr>
          <p:nvPr>
            <p:ph type="body" sz="quarter" idx="10"/>
          </p:nvPr>
        </p:nvSpPr>
        <p:spPr/>
        <p:txBody>
          <a:bodyPr/>
          <a:lstStyle/>
          <a:p>
            <a:endParaRPr lang="de-DE"/>
          </a:p>
        </p:txBody>
      </p:sp>
      <p:sp>
        <p:nvSpPr>
          <p:cNvPr id="9" name="Textplatzhalter 8"/>
          <p:cNvSpPr>
            <a:spLocks noGrp="1"/>
          </p:cNvSpPr>
          <p:nvPr>
            <p:ph type="body" sz="quarter" idx="11"/>
          </p:nvPr>
        </p:nvSpPr>
        <p:spPr/>
        <p:txBody>
          <a:bodyPr/>
          <a:lstStyle/>
          <a:p>
            <a:r>
              <a:rPr lang="de-DE" dirty="0" smtClean="0"/>
              <a:t>Praxisbeispiel</a:t>
            </a:r>
            <a:endParaRPr lang="de-DE" dirty="0"/>
          </a:p>
        </p:txBody>
      </p:sp>
      <p:sp>
        <p:nvSpPr>
          <p:cNvPr id="10" name="Textplatzhalter 9"/>
          <p:cNvSpPr>
            <a:spLocks noGrp="1"/>
          </p:cNvSpPr>
          <p:nvPr>
            <p:ph type="body" sz="quarter" idx="13"/>
          </p:nvPr>
        </p:nvSpPr>
        <p:spPr/>
        <p:txBody>
          <a:bodyPr/>
          <a:lstStyle/>
          <a:p>
            <a:endParaRPr lang="de-DE"/>
          </a:p>
        </p:txBody>
      </p:sp>
      <p:sp>
        <p:nvSpPr>
          <p:cNvPr id="7" name="Foliennummernplatzhalter 6"/>
          <p:cNvSpPr>
            <a:spLocks noGrp="1"/>
          </p:cNvSpPr>
          <p:nvPr>
            <p:ph type="sldNum" sz="quarter" idx="4"/>
          </p:nvPr>
        </p:nvSpPr>
        <p:spPr/>
        <p:txBody>
          <a:bodyPr/>
          <a:lstStyle/>
          <a:p>
            <a:fld id="{B3D266E1-CF7D-47E8-B8E6-FE2361DFB2DF}" type="slidenum">
              <a:rPr lang="de-DE" smtClean="0"/>
              <a:pPr/>
              <a:t>8</a:t>
            </a:fld>
            <a:endParaRPr lang="de-DE" dirty="0"/>
          </a:p>
        </p:txBody>
      </p:sp>
      <p:pic>
        <p:nvPicPr>
          <p:cNvPr id="11" name="Grafik 10">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0929388" y="413431"/>
            <a:ext cx="540000" cy="540000"/>
          </a:xfrm>
          <a:prstGeom prst="rect">
            <a:avLst/>
          </a:prstGeom>
        </p:spPr>
      </p:pic>
      <p:pic>
        <p:nvPicPr>
          <p:cNvPr id="12" name="Inhaltsplatzhalter 4">
            <a:extLst>
              <a:ext uri="{FF2B5EF4-FFF2-40B4-BE49-F238E27FC236}">
                <a16:creationId xmlns:a16="http://schemas.microsoft.com/office/drawing/2014/main" id="{8451A460-C501-EC01-A856-810A7878E76F}"/>
              </a:ext>
            </a:extLst>
          </p:cNvPr>
          <p:cNvPicPr>
            <a:picLocks noChangeAspect="1"/>
          </p:cNvPicPr>
          <p:nvPr/>
        </p:nvPicPr>
        <p:blipFill rotWithShape="1">
          <a:blip r:embed="rId5">
            <a:extLst>
              <a:ext uri="{28A0092B-C50C-407E-A947-70E740481C1C}">
                <a14:useLocalDpi xmlns:a14="http://schemas.microsoft.com/office/drawing/2010/main" val="0"/>
              </a:ext>
            </a:extLst>
          </a:blip>
          <a:srcRect l="2260" t="1398" r="2121" b="65793"/>
          <a:stretch/>
        </p:blipFill>
        <p:spPr>
          <a:xfrm>
            <a:off x="554327" y="1665288"/>
            <a:ext cx="9627898" cy="4655175"/>
          </a:xfrm>
          <a:prstGeom prst="rect">
            <a:avLst/>
          </a:prstGeom>
        </p:spPr>
      </p:pic>
    </p:spTree>
    <p:extLst>
      <p:ext uri="{BB962C8B-B14F-4D97-AF65-F5344CB8AC3E}">
        <p14:creationId xmlns:p14="http://schemas.microsoft.com/office/powerpoint/2010/main" val="249546729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p:cNvSpPr>
            <a:spLocks noGrp="1"/>
          </p:cNvSpPr>
          <p:nvPr>
            <p:ph type="body" sz="quarter" idx="10"/>
          </p:nvPr>
        </p:nvSpPr>
        <p:spPr/>
        <p:txBody>
          <a:bodyPr/>
          <a:lstStyle/>
          <a:p>
            <a:endParaRPr lang="de-DE"/>
          </a:p>
        </p:txBody>
      </p:sp>
      <p:sp>
        <p:nvSpPr>
          <p:cNvPr id="9" name="Textplatzhalter 8"/>
          <p:cNvSpPr>
            <a:spLocks noGrp="1"/>
          </p:cNvSpPr>
          <p:nvPr>
            <p:ph type="body" sz="quarter" idx="11"/>
          </p:nvPr>
        </p:nvSpPr>
        <p:spPr/>
        <p:txBody>
          <a:bodyPr/>
          <a:lstStyle/>
          <a:p>
            <a:r>
              <a:rPr lang="de-DE" dirty="0" smtClean="0"/>
              <a:t>Praxisbeispiel</a:t>
            </a:r>
            <a:endParaRPr lang="de-DE" dirty="0"/>
          </a:p>
        </p:txBody>
      </p:sp>
      <p:sp>
        <p:nvSpPr>
          <p:cNvPr id="10" name="Textplatzhalter 9"/>
          <p:cNvSpPr>
            <a:spLocks noGrp="1"/>
          </p:cNvSpPr>
          <p:nvPr>
            <p:ph type="body" sz="quarter" idx="13"/>
          </p:nvPr>
        </p:nvSpPr>
        <p:spPr/>
        <p:txBody>
          <a:bodyPr/>
          <a:lstStyle/>
          <a:p>
            <a:endParaRPr lang="de-DE" dirty="0"/>
          </a:p>
        </p:txBody>
      </p:sp>
      <p:sp>
        <p:nvSpPr>
          <p:cNvPr id="7" name="Foliennummernplatzhalter 6"/>
          <p:cNvSpPr>
            <a:spLocks noGrp="1"/>
          </p:cNvSpPr>
          <p:nvPr>
            <p:ph type="sldNum" sz="quarter" idx="4"/>
          </p:nvPr>
        </p:nvSpPr>
        <p:spPr/>
        <p:txBody>
          <a:bodyPr/>
          <a:lstStyle/>
          <a:p>
            <a:fld id="{B3D266E1-CF7D-47E8-B8E6-FE2361DFB2DF}" type="slidenum">
              <a:rPr lang="de-DE" smtClean="0"/>
              <a:pPr/>
              <a:t>9</a:t>
            </a:fld>
            <a:endParaRPr lang="de-DE" dirty="0"/>
          </a:p>
        </p:txBody>
      </p:sp>
      <p:pic>
        <p:nvPicPr>
          <p:cNvPr id="11" name="Grafik 10">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0929388" y="413431"/>
            <a:ext cx="540000" cy="540000"/>
          </a:xfrm>
          <a:prstGeom prst="rect">
            <a:avLst/>
          </a:prstGeom>
        </p:spPr>
      </p:pic>
      <p:pic>
        <p:nvPicPr>
          <p:cNvPr id="12" name="Inhaltsplatzhalter 4">
            <a:extLst>
              <a:ext uri="{FF2B5EF4-FFF2-40B4-BE49-F238E27FC236}">
                <a16:creationId xmlns:a16="http://schemas.microsoft.com/office/drawing/2014/main" id="{8451A460-C501-EC01-A856-810A7878E76F}"/>
              </a:ext>
            </a:extLst>
          </p:cNvPr>
          <p:cNvPicPr>
            <a:picLocks noGrp="1" noChangeAspect="1"/>
          </p:cNvPicPr>
          <p:nvPr>
            <p:ph idx="1"/>
          </p:nvPr>
        </p:nvPicPr>
        <p:blipFill rotWithShape="1">
          <a:blip r:embed="rId5">
            <a:extLst>
              <a:ext uri="{28A0092B-C50C-407E-A947-70E740481C1C}">
                <a14:useLocalDpi xmlns:a14="http://schemas.microsoft.com/office/drawing/2010/main" val="0"/>
              </a:ext>
            </a:extLst>
          </a:blip>
          <a:srcRect l="2401" t="34147" r="2192" b="34648"/>
          <a:stretch/>
        </p:blipFill>
        <p:spPr>
          <a:xfrm>
            <a:off x="550863" y="1665288"/>
            <a:ext cx="10075166" cy="4643437"/>
          </a:xfrm>
        </p:spPr>
      </p:pic>
      <p:pic>
        <p:nvPicPr>
          <p:cNvPr id="13" name="Inhaltsplatzhalter 4">
            <a:extLst>
              <a:ext uri="{FF2B5EF4-FFF2-40B4-BE49-F238E27FC236}">
                <a16:creationId xmlns:a16="http://schemas.microsoft.com/office/drawing/2014/main" id="{8451A460-C501-EC01-A856-810A7878E76F}"/>
              </a:ext>
            </a:extLst>
          </p:cNvPr>
          <p:cNvPicPr>
            <a:picLocks noChangeAspect="1"/>
          </p:cNvPicPr>
          <p:nvPr/>
        </p:nvPicPr>
        <p:blipFill rotWithShape="1">
          <a:blip r:embed="rId5">
            <a:extLst>
              <a:ext uri="{28A0092B-C50C-407E-A947-70E740481C1C}">
                <a14:useLocalDpi xmlns:a14="http://schemas.microsoft.com/office/drawing/2010/main" val="0"/>
              </a:ext>
            </a:extLst>
          </a:blip>
          <a:srcRect l="2401" t="34147" r="2192" b="34648"/>
          <a:stretch/>
        </p:blipFill>
        <p:spPr>
          <a:xfrm>
            <a:off x="559644" y="1665288"/>
            <a:ext cx="10075166" cy="4643437"/>
          </a:xfrm>
          <a:prstGeom prst="rect">
            <a:avLst/>
          </a:prstGeom>
        </p:spPr>
      </p:pic>
    </p:spTree>
    <p:extLst>
      <p:ext uri="{BB962C8B-B14F-4D97-AF65-F5344CB8AC3E}">
        <p14:creationId xmlns:p14="http://schemas.microsoft.com/office/powerpoint/2010/main" val="175141018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ver 01">
  <a:themeElements>
    <a:clrScheme name="Benutzerdefiniert 3">
      <a:dk1>
        <a:sysClr val="windowText" lastClr="000000"/>
      </a:dk1>
      <a:lt1>
        <a:sysClr val="window" lastClr="FFFFFF"/>
      </a:lt1>
      <a:dk2>
        <a:srgbClr val="000000"/>
      </a:dk2>
      <a:lt2>
        <a:srgbClr val="E8E8E8"/>
      </a:lt2>
      <a:accent1>
        <a:srgbClr val="F39324"/>
      </a:accent1>
      <a:accent2>
        <a:srgbClr val="B66BA9"/>
      </a:accent2>
      <a:accent3>
        <a:srgbClr val="E45C8A"/>
      </a:accent3>
      <a:accent4>
        <a:srgbClr val="5D86C4"/>
      </a:accent4>
      <a:accent5>
        <a:srgbClr val="50A74C"/>
      </a:accent5>
      <a:accent6>
        <a:srgbClr val="29969F"/>
      </a:accent6>
      <a:hlink>
        <a:srgbClr val="000000"/>
      </a:hlink>
      <a:folHlink>
        <a:srgbClr val="E8E8E8"/>
      </a:folHlink>
    </a:clrScheme>
    <a:fontScheme name="Elternarbei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Cover 02">
  <a:themeElements>
    <a:clrScheme name="Benutzerdefiniert 3">
      <a:dk1>
        <a:sysClr val="windowText" lastClr="000000"/>
      </a:dk1>
      <a:lt1>
        <a:sysClr val="window" lastClr="FFFFFF"/>
      </a:lt1>
      <a:dk2>
        <a:srgbClr val="000000"/>
      </a:dk2>
      <a:lt2>
        <a:srgbClr val="E8E8E8"/>
      </a:lt2>
      <a:accent1>
        <a:srgbClr val="F39324"/>
      </a:accent1>
      <a:accent2>
        <a:srgbClr val="B66BA9"/>
      </a:accent2>
      <a:accent3>
        <a:srgbClr val="E45C8A"/>
      </a:accent3>
      <a:accent4>
        <a:srgbClr val="5D86C4"/>
      </a:accent4>
      <a:accent5>
        <a:srgbClr val="50A74C"/>
      </a:accent5>
      <a:accent6>
        <a:srgbClr val="29969F"/>
      </a:accent6>
      <a:hlink>
        <a:srgbClr val="000000"/>
      </a:hlink>
      <a:folHlink>
        <a:srgbClr val="E8E8E8"/>
      </a:folHlink>
    </a:clrScheme>
    <a:fontScheme name="Elternarbei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Inhalt ">
  <a:themeElements>
    <a:clrScheme name="Benutzerdefiniert 3">
      <a:dk1>
        <a:sysClr val="windowText" lastClr="000000"/>
      </a:dk1>
      <a:lt1>
        <a:sysClr val="window" lastClr="FFFFFF"/>
      </a:lt1>
      <a:dk2>
        <a:srgbClr val="000000"/>
      </a:dk2>
      <a:lt2>
        <a:srgbClr val="E8E8E8"/>
      </a:lt2>
      <a:accent1>
        <a:srgbClr val="F39324"/>
      </a:accent1>
      <a:accent2>
        <a:srgbClr val="B66BA9"/>
      </a:accent2>
      <a:accent3>
        <a:srgbClr val="E45C8A"/>
      </a:accent3>
      <a:accent4>
        <a:srgbClr val="5D86C4"/>
      </a:accent4>
      <a:accent5>
        <a:srgbClr val="50A74C"/>
      </a:accent5>
      <a:accent6>
        <a:srgbClr val="29969F"/>
      </a:accent6>
      <a:hlink>
        <a:srgbClr val="000000"/>
      </a:hlink>
      <a:folHlink>
        <a:srgbClr val="E8E8E8"/>
      </a:folHlink>
    </a:clrScheme>
    <a:fontScheme name="Elternarbei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369674CF57E09B4787B28BA164A64369" ma:contentTypeVersion="17" ma:contentTypeDescription="Ein neues Dokument erstellen." ma:contentTypeScope="" ma:versionID="cd6631338561e04f09047797a4ac7942">
  <xsd:schema xmlns:xsd="http://www.w3.org/2001/XMLSchema" xmlns:xs="http://www.w3.org/2001/XMLSchema" xmlns:p="http://schemas.microsoft.com/office/2006/metadata/properties" xmlns:ns3="5a4219a2-45cf-45bf-91bc-5ddc1db9b26b" xmlns:ns4="44694c35-30c0-4ff0-8b82-8424709eaf3a" targetNamespace="http://schemas.microsoft.com/office/2006/metadata/properties" ma:root="true" ma:fieldsID="03e63858e0d6ff57d8e01d0cbd883461" ns3:_="" ns4:_="">
    <xsd:import namespace="5a4219a2-45cf-45bf-91bc-5ddc1db9b26b"/>
    <xsd:import namespace="44694c35-30c0-4ff0-8b82-8424709eaf3a"/>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AutoKeyPoints" minOccurs="0"/>
                <xsd:element ref="ns4:MediaServiceKeyPoints" minOccurs="0"/>
                <xsd:element ref="ns4:MediaServiceDateTaken" minOccurs="0"/>
                <xsd:element ref="ns4:MediaLengthInSeconds" minOccurs="0"/>
                <xsd:element ref="ns4:_activity" minOccurs="0"/>
                <xsd:element ref="ns4:MediaServiceObjectDetectorVersions" minOccurs="0"/>
                <xsd:element ref="ns4:MediaServiceSystemTags" minOccurs="0"/>
                <xsd:element ref="ns4: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a4219a2-45cf-45bf-91bc-5ddc1db9b26b"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element name="SharingHintHash" ma:index="10" nillable="true" ma:displayName="Freigabehinweis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4694c35-30c0-4ff0-8b82-8424709eaf3a"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ystemTags" ma:index="23" nillable="true" ma:displayName="MediaServiceSystemTags" ma:hidden="true" ma:internalName="MediaServiceSystemTags" ma:readOnly="true">
      <xsd:simpleType>
        <xsd:restriction base="dms:Note"/>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activity xmlns="44694c35-30c0-4ff0-8b82-8424709eaf3a" xsi:nil="true"/>
  </documentManagement>
</p:properties>
</file>

<file path=customXml/itemProps1.xml><?xml version="1.0" encoding="utf-8"?>
<ds:datastoreItem xmlns:ds="http://schemas.openxmlformats.org/officeDocument/2006/customXml" ds:itemID="{140AEF7B-71BA-4B38-A2DA-AEC8298F14D7}">
  <ds:schemaRefs>
    <ds:schemaRef ds:uri="http://schemas.microsoft.com/sharepoint/v3/contenttype/forms"/>
  </ds:schemaRefs>
</ds:datastoreItem>
</file>

<file path=customXml/itemProps2.xml><?xml version="1.0" encoding="utf-8"?>
<ds:datastoreItem xmlns:ds="http://schemas.openxmlformats.org/officeDocument/2006/customXml" ds:itemID="{71D20196-EB5A-4F11-8B22-8BFF0D74292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a4219a2-45cf-45bf-91bc-5ddc1db9b26b"/>
    <ds:schemaRef ds:uri="44694c35-30c0-4ff0-8b82-8424709eaf3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E2F4CA1-FA53-45F9-B408-EE067BF1B69C}">
  <ds:schemaRefs>
    <ds:schemaRef ds:uri="http://schemas.microsoft.com/office/2006/metadata/properties"/>
    <ds:schemaRef ds:uri="44694c35-30c0-4ff0-8b82-8424709eaf3a"/>
    <ds:schemaRef ds:uri="http://purl.org/dc/terms/"/>
    <ds:schemaRef ds:uri="http://schemas.openxmlformats.org/package/2006/metadata/core-properties"/>
    <ds:schemaRef ds:uri="http://purl.org/dc/dcmitype/"/>
    <ds:schemaRef ds:uri="http://schemas.microsoft.com/office/2006/documentManagement/types"/>
    <ds:schemaRef ds:uri="http://purl.org/dc/elements/1.1/"/>
    <ds:schemaRef ds:uri="http://schemas.microsoft.com/office/infopath/2007/PartnerControls"/>
    <ds:schemaRef ds:uri="5a4219a2-45cf-45bf-91bc-5ddc1db9b26b"/>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0</TotalTime>
  <Words>1758</Words>
  <Application>Microsoft Office PowerPoint</Application>
  <PresentationFormat>Breitbild</PresentationFormat>
  <Paragraphs>228</Paragraphs>
  <Slides>21</Slides>
  <Notes>17</Notes>
  <HiddenSlides>8</HiddenSlides>
  <MMClips>1</MMClips>
  <ScaleCrop>false</ScaleCrop>
  <HeadingPairs>
    <vt:vector size="8" baseType="variant">
      <vt:variant>
        <vt:lpstr>Verwendete Schriftarten</vt:lpstr>
      </vt:variant>
      <vt:variant>
        <vt:i4>5</vt:i4>
      </vt:variant>
      <vt:variant>
        <vt:lpstr>Design</vt:lpstr>
      </vt:variant>
      <vt:variant>
        <vt:i4>3</vt:i4>
      </vt:variant>
      <vt:variant>
        <vt:lpstr>Eingebettete OLE-Server</vt:lpstr>
      </vt:variant>
      <vt:variant>
        <vt:i4>1</vt:i4>
      </vt:variant>
      <vt:variant>
        <vt:lpstr>Folientitel</vt:lpstr>
      </vt:variant>
      <vt:variant>
        <vt:i4>21</vt:i4>
      </vt:variant>
    </vt:vector>
  </HeadingPairs>
  <TitlesOfParts>
    <vt:vector size="30" baseType="lpstr">
      <vt:lpstr>Aptos</vt:lpstr>
      <vt:lpstr>Arial</vt:lpstr>
      <vt:lpstr>Calibri</vt:lpstr>
      <vt:lpstr>Segoe UI</vt:lpstr>
      <vt:lpstr>Semikolon Plus</vt:lpstr>
      <vt:lpstr>Cover 01</vt:lpstr>
      <vt:lpstr>Cover 02</vt:lpstr>
      <vt:lpstr>Inhalt </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BLM Stiftung Medienpädagogik Bayern</dc:creator>
  <cp:lastModifiedBy>Bushoff Annalena</cp:lastModifiedBy>
  <cp:revision>52</cp:revision>
  <dcterms:created xsi:type="dcterms:W3CDTF">2024-05-08T06:34:22Z</dcterms:created>
  <dcterms:modified xsi:type="dcterms:W3CDTF">2024-10-23T11:08: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69674CF57E09B4787B28BA164A64369</vt:lpwstr>
  </property>
</Properties>
</file>